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27.xml" ContentType="application/vnd.openxmlformats-officedocument.presentationml.tags+xml"/>
  <Override PartName="/ppt/notesSlides/notesSlide25.xml" ContentType="application/vnd.openxmlformats-officedocument.presentationml.notesSlide+xml"/>
  <Override PartName="/ppt/tags/tag2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55" r:id="rId5"/>
  </p:sldMasterIdLst>
  <p:notesMasterIdLst>
    <p:notesMasterId r:id="rId32"/>
  </p:notesMasterIdLst>
  <p:sldIdLst>
    <p:sldId id="661" r:id="rId6"/>
    <p:sldId id="2147477494" r:id="rId7"/>
    <p:sldId id="2147477516" r:id="rId8"/>
    <p:sldId id="2147477472" r:id="rId9"/>
    <p:sldId id="2147477497" r:id="rId10"/>
    <p:sldId id="2147477515" r:id="rId11"/>
    <p:sldId id="2147477459" r:id="rId12"/>
    <p:sldId id="2147477460" r:id="rId13"/>
    <p:sldId id="2147477479" r:id="rId14"/>
    <p:sldId id="2147477461" r:id="rId15"/>
    <p:sldId id="2147477514" r:id="rId16"/>
    <p:sldId id="2147477499" r:id="rId17"/>
    <p:sldId id="2147477464" r:id="rId18"/>
    <p:sldId id="2147477465" r:id="rId19"/>
    <p:sldId id="2147477476" r:id="rId20"/>
    <p:sldId id="2147477513" r:id="rId21"/>
    <p:sldId id="2147477501" r:id="rId22"/>
    <p:sldId id="2147477517" r:id="rId23"/>
    <p:sldId id="2147477480" r:id="rId24"/>
    <p:sldId id="2147477481" r:id="rId25"/>
    <p:sldId id="2147477475" r:id="rId26"/>
    <p:sldId id="2147477512" r:id="rId27"/>
    <p:sldId id="2147477502" r:id="rId28"/>
    <p:sldId id="2147477519" r:id="rId29"/>
    <p:sldId id="2147477511" r:id="rId30"/>
    <p:sldId id="325" r:id="rId31"/>
  </p:sldIdLst>
  <p:sldSz cx="12192000" cy="6858000"/>
  <p:notesSz cx="6858000" cy="9144000"/>
  <p:embeddedFontLst>
    <p:embeddedFont>
      <p:font typeface="Bai Jamjuree" panose="020B0604020202020204" charset="-34"/>
      <p:regular r:id="rId33"/>
      <p:bold r:id="rId34"/>
      <p:italic r:id="rId35"/>
      <p:boldItalic r:id="rId36"/>
    </p:embeddedFont>
    <p:embeddedFont>
      <p:font typeface="Bai Jamjuree Light" panose="020B0604020202020204" charset="-34"/>
      <p:regular r:id="rId37"/>
      <p:italic r:id="rId38"/>
    </p:embeddedFont>
    <p:embeddedFont>
      <p:font typeface="Montserrat" panose="00000500000000000000" pitchFamily="2" charset="-18"/>
      <p:regular r:id="rId39"/>
      <p:bold r:id="rId40"/>
      <p:italic r:id="rId41"/>
      <p:boldItalic r:id="rId42"/>
    </p:embeddedFont>
  </p:embeddedFontLst>
  <p:custDataLst>
    <p:tags r:id="rId4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" id="{498A9467-67E2-ED41-8EFE-23DD0644D1AE}">
          <p14:sldIdLst>
            <p14:sldId id="661"/>
          </p14:sldIdLst>
        </p14:section>
        <p14:section name="Intro" id="{57DE03FE-7C84-0441-BED6-23CD90712975}">
          <p14:sldIdLst>
            <p14:sldId id="2147477494"/>
            <p14:sldId id="2147477516"/>
            <p14:sldId id="2147477472"/>
          </p14:sldIdLst>
        </p14:section>
        <p14:section name="1. RAG methodology - 30min" id="{3A3C9AB1-0C75-EA40-8E14-D542E159337A}">
          <p14:sldIdLst>
            <p14:sldId id="2147477497"/>
            <p14:sldId id="2147477515"/>
            <p14:sldId id="2147477459"/>
            <p14:sldId id="2147477460"/>
            <p14:sldId id="2147477479"/>
            <p14:sldId id="2147477461"/>
          </p14:sldIdLst>
        </p14:section>
        <p14:section name="Practical session: Trying out RAG -20min" id="{B02D4A4B-45A3-F14B-B49D-BE17F5083BE3}">
          <p14:sldIdLst>
            <p14:sldId id="2147477514"/>
          </p14:sldIdLst>
        </p14:section>
        <p14:section name="2. Why evaluation is crucial - 20min" id="{53CC12BB-1767-7049-9608-BB71F20E8A2E}">
          <p14:sldIdLst>
            <p14:sldId id="2147477499"/>
            <p14:sldId id="2147477464"/>
            <p14:sldId id="2147477465"/>
            <p14:sldId id="2147477476"/>
          </p14:sldIdLst>
        </p14:section>
        <p14:section name="Practical session: manual optimization - 20min" id="{53539D56-64F8-4737-838D-7DF5D0552176}">
          <p14:sldIdLst>
            <p14:sldId id="2147477513"/>
          </p14:sldIdLst>
        </p14:section>
        <p14:section name="3. Automated evaluation - 20min" id="{7B5DFB36-9938-2344-9330-05EBEE5AD825}">
          <p14:sldIdLst>
            <p14:sldId id="2147477501"/>
            <p14:sldId id="2147477517"/>
            <p14:sldId id="2147477480"/>
            <p14:sldId id="2147477481"/>
            <p14:sldId id="2147477475"/>
          </p14:sldIdLst>
        </p14:section>
        <p14:section name="Practical session: Train evaluator -20min" id="{B38AA57E-FDCF-4FC7-A1D7-B821A1E97204}">
          <p14:sldIdLst>
            <p14:sldId id="2147477512"/>
            <p14:sldId id="2147477502"/>
          </p14:sldIdLst>
        </p14:section>
        <p14:section name="4. What can be optimized" id="{C80B5211-9F29-459A-9452-759126283672}">
          <p14:sldIdLst>
            <p14:sldId id="2147477519"/>
          </p14:sldIdLst>
        </p14:section>
        <p14:section name="Practical session: using automated evaluation for improving the system -50min" id="{6539A3E6-73B1-4474-8EAF-6DB87B860218}">
          <p14:sldIdLst>
            <p14:sldId id="2147477511"/>
            <p14:sldId id="32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5E1C40D-DE0D-0619-B6B1-58507055C845}" name="Brýdl Ivo" initials="BI" userId="S::brydl.ivo@o2.cz::24fed62c-989c-4854-be24-8727ca7dbe92" providerId="AD"/>
  <p188:author id="{2FE2B231-21CD-4D5B-E1FB-F5881C1EB65D}" name="Vavrla Lukáš" initials="VL" userId="S::lukas.vavrla@o2.cz::98636548-aad8-4033-9921-aeecd9d5a919" providerId="AD"/>
  <p188:author id="{83664E37-8F5A-47C0-2C73-26D74DBABC9C}" name="Stanislav Petr" initials="PS" userId="S::petr.stanislav@o2.cz::af020f97-ebb4-4a2f-b536-ad82cb84cfbf" providerId="AD"/>
  <p188:author id="{F112FC3D-A10A-6594-2376-794997440D53}" name="Roskovec Filip" initials="RF" userId="S::filip.roskovec@o2.cz::eebe62d7-11ea-49ff-bd21-87029724ccad" providerId="AD"/>
  <p188:author id="{35CD824A-2FB4-9ADB-A229-8904F66A54B9}" name="Sobotková Jana" initials="SJ" userId="S::jana.sobotkova@o2.cz::de8f56af-e00b-4786-9f76-c29081a47334" providerId="AD"/>
  <p188:author id="{5DF75E4B-A9D4-DF99-31B8-BDA0A808F4E8}" name="Michal Husár" initials="MH" userId="S::michal.husar@o2.cz::a29a5167-1eed-458c-90d1-f0e1c16b180a" providerId="AD"/>
  <p188:author id="{0058A987-31A2-4C40-8182-E403131217D9}" name="Brůhová Zuzana" initials="BZ" userId="S::zuzana.bruhova@o2.cz::9fc64ed2-b2d7-4a0d-bdf4-17072937e797" providerId="AD"/>
  <p188:author id="{972BF696-4772-6B2B-87B6-6EDFEAB56171}" name="Beneda Jiří" initials="BJ" userId="S::jiri.beneda@o2.cz::6e77dff5-ea3e-4992-84ed-004914b79c6e" providerId="AD"/>
  <p188:author id="{61008897-B196-38FC-CE3D-9603716F50DB}" name="Kubišta Michal" initials="KM" userId="S::michal.kubista@o2.cz::19b4534f-6f19-4c22-b71a-32c639f3b9bf" providerId="AD"/>
  <p188:author id="{D7E613C0-C453-C301-FD97-6C69AB2C344F}" name="Ondřej Finke" initials="OF" userId="138bbf2ed212f90a" providerId="Windows Live"/>
  <p188:author id="{F27B3BC1-24F7-7629-0763-492CFB19712A}" name="Petr Hirš" initials="PH" userId="S::petr.hirs@o2.cz::5780e677-425a-4add-9a46-50951d2a2756" providerId="AD"/>
  <p188:author id="{2BAA3CD1-400C-3116-DFF3-6C48A5B6E19A}" name="Oprendek Radovan" initials="OR" userId="S::radovan.oprendek@o2.cz::469d05e0-0ede-411b-b880-bfcb35c37094" providerId="AD"/>
  <p188:author id="{D58B32D8-E30F-12DE-1876-CA86DEE32BC0}" name="Kaczor Lukáš" initials="KL" userId="S::lukas.kaczor@o2.cz::0f5c505b-e8b7-4f38-9178-ef6f4c6e18b8" providerId="AD"/>
  <p188:author id="{C3384DF3-7A4B-5BF3-3140-61962D0CB079}" name="Finke Ondřej" initials="FO" userId="S::ondrej.finke@o2.cz::55ffd99a-9d25-404b-aa33-8d05ac102d1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n Pochop" initials="JP" lastIdx="2" clrIdx="0">
    <p:extLst>
      <p:ext uri="{19B8F6BF-5375-455C-9EA6-DF929625EA0E}">
        <p15:presenceInfo xmlns:p15="http://schemas.microsoft.com/office/powerpoint/2012/main" userId="S::jan@pochop.net::f60d00b2-f9e0-40b4-bf0a-4aa1d4ea84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0605"/>
    <a:srgbClr val="141B3B"/>
    <a:srgbClr val="F7620D"/>
    <a:srgbClr val="004F8B"/>
    <a:srgbClr val="CD1E29"/>
    <a:srgbClr val="147F14"/>
    <a:srgbClr val="160C1B"/>
    <a:srgbClr val="FFFFFF"/>
    <a:srgbClr val="F700DB"/>
    <a:srgbClr val="CCCC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Světlý styl 3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Střední styl 1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B9631B5-78F2-41C9-869B-9F39066F8104}" styleName="Střední styl 3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Střední styl 1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0A15C55-8517-42AA-B614-E9B94910E393}" styleName="Střední styl 2 – zvýraznění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Střední styl 4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660B408-B3CF-4A94-85FC-2B1E0A45F4A2}" styleName="Tmavý styl 2 – zvýraznění 1/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yl s motivem 1 – zvýraznění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Styl s motivem 1 – zvýraznění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Styl s motivem 1 – zvýraznění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27F97BB-C833-4FB7-BDE5-3F7075034690}" styleName="Styl s motivem 2 – zvýraznění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Styl s motivem 2 – zvýraznění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799B23B-EC83-4686-B30A-512413B5E67A}" styleName="Světlý styl 3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46F890A9-2807-4EBB-B81D-B2AA78EC7F39}" styleName="Tmavý styl 2 – zvýraznění 5/zvýraznění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–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4719" autoAdjust="0"/>
  </p:normalViewPr>
  <p:slideViewPr>
    <p:cSldViewPr snapToGrid="0">
      <p:cViewPr varScale="1">
        <p:scale>
          <a:sx n="89" d="100"/>
          <a:sy n="89" d="100"/>
        </p:scale>
        <p:origin x="115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7.fntdata"/><Relationship Id="rId21" Type="http://schemas.openxmlformats.org/officeDocument/2006/relationships/slide" Target="slides/slide16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font" Target="fonts/font4.fntdata"/><Relationship Id="rId49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font" Target="fonts/font3.fntdata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font" Target="fonts/font9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CAD4FA-9B6B-4B70-97FF-7041495A1AB3}" type="datetimeFigureOut">
              <a:rPr lang="en-US" smtClean="0"/>
              <a:t>4/2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BCBF0E-0113-4407-8528-B95570380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420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4367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8198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</a:t>
            </a: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391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</a:t>
            </a: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0773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9222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00100" lvl="1" indent="-342900">
              <a:lnSpc>
                <a:spcPct val="150000"/>
              </a:lnSpc>
              <a:buFont typeface="Arial,Sans-Serif"/>
              <a:buChar char="•"/>
            </a:pPr>
            <a:r>
              <a:rPr lang="en-US" b="1" u="sng"/>
              <a:t>Observations</a:t>
            </a:r>
            <a:endParaRPr lang="en-US"/>
          </a:p>
          <a:p>
            <a:pPr marL="1257300" lvl="2" indent="-342900">
              <a:lnSpc>
                <a:spcPct val="150000"/>
              </a:lnSpc>
              <a:buFont typeface="Arial,Sans-Serif"/>
              <a:buChar char="•"/>
            </a:pPr>
            <a:r>
              <a:rPr lang="en-US"/>
              <a:t>Questions representing actual usage (majority)</a:t>
            </a:r>
          </a:p>
          <a:p>
            <a:pPr marL="1714500" lvl="3" indent="-342900">
              <a:lnSpc>
                <a:spcPct val="150000"/>
              </a:lnSpc>
              <a:buFont typeface="Calibri,Sans-Serif"/>
              <a:buChar char="-"/>
            </a:pPr>
            <a:r>
              <a:rPr lang="en-US"/>
              <a:t>proportional representation according to which sources users need more and less</a:t>
            </a:r>
            <a:endParaRPr lang="en-US">
              <a:cs typeface="Calibri"/>
            </a:endParaRPr>
          </a:p>
          <a:p>
            <a:pPr marL="1257300" lvl="2" indent="-342900">
              <a:lnSpc>
                <a:spcPct val="150000"/>
              </a:lnSpc>
              <a:buFont typeface="Arial,Sans-Serif"/>
              <a:buChar char="•"/>
            </a:pPr>
            <a:r>
              <a:rPr lang="en-US"/>
              <a:t>Questions simulating non-standard usage</a:t>
            </a:r>
            <a:endParaRPr lang="en-US">
              <a:cs typeface="Calibri"/>
            </a:endParaRPr>
          </a:p>
          <a:p>
            <a:pPr marL="1657350" lvl="3" indent="-285750">
              <a:lnSpc>
                <a:spcPct val="150000"/>
              </a:lnSpc>
              <a:buFont typeface="Calibri,Sans-Serif"/>
              <a:buChar char="-"/>
            </a:pPr>
            <a:r>
              <a:rPr lang="en-US"/>
              <a:t>vague, misleading, questions not answerable from sources, jail-breaks, ... </a:t>
            </a: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6761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b="1" dirty="0"/>
              <a:t>Metrics</a:t>
            </a:r>
            <a:endParaRPr lang="en-US" dirty="0"/>
          </a:p>
          <a:p>
            <a:pPr marL="800100" lvl="1" indent="-342900">
              <a:lnSpc>
                <a:spcPct val="150000"/>
              </a:lnSpc>
              <a:buFont typeface="Arial,Sans-Serif"/>
              <a:buChar char="•"/>
            </a:pPr>
            <a:r>
              <a:rPr lang="en-US" b="1" u="sng" dirty="0"/>
              <a:t>Basic metrics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i="1" dirty="0"/>
              <a:t>        Can be done by hand</a:t>
            </a:r>
            <a:endParaRPr lang="en-US" dirty="0"/>
          </a:p>
          <a:p>
            <a:pPr marL="1257300" lvl="2" indent="-342900">
              <a:lnSpc>
                <a:spcPct val="150000"/>
              </a:lnSpc>
              <a:buFont typeface="Arial,Sans-Serif"/>
              <a:buChar char="•"/>
            </a:pPr>
            <a:r>
              <a:rPr lang="en-US" b="1" dirty="0"/>
              <a:t>Correctness </a:t>
            </a:r>
            <a:endParaRPr lang="en-US" dirty="0"/>
          </a:p>
          <a:p>
            <a:pPr marL="1714500" lvl="3" indent="-342900">
              <a:lnSpc>
                <a:spcPct val="150000"/>
              </a:lnSpc>
              <a:buFont typeface="Calibri,Sans-Serif"/>
              <a:buChar char="-"/>
            </a:pPr>
            <a:r>
              <a:rPr lang="en-US" dirty="0"/>
              <a:t>domain expert compares answers to ground truth</a:t>
            </a:r>
          </a:p>
          <a:p>
            <a:pPr marL="1257300" lvl="2" indent="-342900">
              <a:lnSpc>
                <a:spcPct val="150000"/>
              </a:lnSpc>
              <a:buFont typeface="Arial,Sans-Serif"/>
              <a:buChar char="•"/>
            </a:pPr>
            <a:r>
              <a:rPr lang="en-US" b="1" dirty="0"/>
              <a:t>Citation accuracy</a:t>
            </a:r>
            <a:endParaRPr lang="en-US" dirty="0"/>
          </a:p>
          <a:p>
            <a:pPr marL="1714500" lvl="3" indent="-342900">
              <a:lnSpc>
                <a:spcPct val="150000"/>
              </a:lnSpc>
              <a:buFont typeface="Calibri,Sans-Serif"/>
              <a:buChar char="-"/>
            </a:pPr>
            <a:r>
              <a:rPr lang="en-US" dirty="0"/>
              <a:t>domain expert lists sources that should be used to answer the question</a:t>
            </a:r>
            <a:endParaRPr lang="en-US" dirty="0">
              <a:cs typeface="Calibri"/>
            </a:endParaRPr>
          </a:p>
          <a:p>
            <a:pPr marL="800100" lvl="1" indent="-342900">
              <a:lnSpc>
                <a:spcPct val="150000"/>
              </a:lnSpc>
              <a:buFont typeface="Arial,Sans-Serif"/>
              <a:buChar char="•"/>
            </a:pPr>
            <a:r>
              <a:rPr lang="en-US" b="1" u="sng" dirty="0"/>
              <a:t>Advanced metrics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    </a:t>
            </a:r>
            <a:r>
              <a:rPr lang="en-US" i="1" dirty="0"/>
              <a:t> Can only be calculated automatically (using libraries such as </a:t>
            </a:r>
            <a:r>
              <a:rPr lang="en-US" b="1" i="1" dirty="0"/>
              <a:t>Ragas</a:t>
            </a:r>
            <a:r>
              <a:rPr lang="en-US" i="1" dirty="0"/>
              <a:t>)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i="1" dirty="0"/>
              <a:t>      Useful for </a:t>
            </a:r>
            <a:r>
              <a:rPr lang="en-US" b="1" i="1" dirty="0"/>
              <a:t>evaluation of different parts </a:t>
            </a:r>
            <a:r>
              <a:rPr lang="en-US" i="1" dirty="0"/>
              <a:t>of the system one by one</a:t>
            </a:r>
            <a:endParaRPr lang="en-US" dirty="0"/>
          </a:p>
          <a:p>
            <a:pPr marL="1200150" lvl="2" indent="-285750">
              <a:lnSpc>
                <a:spcPct val="150000"/>
              </a:lnSpc>
              <a:buFont typeface="Arial,Sans-Serif"/>
              <a:buChar char="•"/>
            </a:pPr>
            <a:r>
              <a:rPr lang="en-US" b="1" dirty="0"/>
              <a:t>Context recall</a:t>
            </a:r>
            <a:endParaRPr lang="en-US" dirty="0"/>
          </a:p>
          <a:p>
            <a:pPr marL="1714500" lvl="3" indent="-342900">
              <a:lnSpc>
                <a:spcPct val="150000"/>
              </a:lnSpc>
              <a:buFont typeface="Calibri,Sans-Serif"/>
              <a:buChar char="-"/>
            </a:pPr>
            <a:r>
              <a:rPr lang="en-US" i="1" dirty="0"/>
              <a:t>GT sentences attributable to context / Number of sentences in GT</a:t>
            </a:r>
            <a:endParaRPr lang="en-US" dirty="0"/>
          </a:p>
          <a:p>
            <a:pPr marL="1257300" lvl="2" indent="-342900">
              <a:lnSpc>
                <a:spcPct val="150000"/>
              </a:lnSpc>
              <a:buFont typeface="Arial,Sans-Serif"/>
              <a:buChar char="•"/>
            </a:pPr>
            <a:r>
              <a:rPr lang="en-US" b="1" dirty="0"/>
              <a:t>Faithfulness</a:t>
            </a:r>
            <a:endParaRPr lang="en-US" dirty="0"/>
          </a:p>
          <a:p>
            <a:pPr marL="1714500" lvl="3" indent="-342900">
              <a:lnSpc>
                <a:spcPct val="150000"/>
              </a:lnSpc>
              <a:buFont typeface="Calibri,Sans-Serif"/>
              <a:buChar char="-"/>
            </a:pPr>
            <a:r>
              <a:rPr lang="en-US" i="1" dirty="0"/>
              <a:t>Answer claims attributable to context / Number of claims in Answer</a:t>
            </a:r>
            <a:endParaRPr lang="en-US" dirty="0"/>
          </a:p>
          <a:p>
            <a:pPr marL="1257300" lvl="2" indent="-342900">
              <a:lnSpc>
                <a:spcPct val="150000"/>
              </a:lnSpc>
              <a:buFont typeface="Arial,Sans-Serif"/>
              <a:buChar char="•"/>
            </a:pPr>
            <a:r>
              <a:rPr lang="en-US" b="1" dirty="0"/>
              <a:t>Context Precision, Context Relevancy, ...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5162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5986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0905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030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7326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</a:t>
            </a: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7699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4847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5461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1156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3384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4081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438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8875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242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</a:t>
            </a: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360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0469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4549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361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CBF0E-0113-4407-8528-B955703806E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898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1FFE54-0935-4251-9637-7E6BC65EFE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035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1FFE54-0935-4251-9637-7E6BC65EFE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picture containing light, traffic, red, star&#10;&#10;Description automatically generated">
            <a:extLst>
              <a:ext uri="{FF2B5EF4-FFF2-40B4-BE49-F238E27FC236}">
                <a16:creationId xmlns:a16="http://schemas.microsoft.com/office/drawing/2014/main" id="{A08A7142-CCE2-4962-ADC6-1F88B3AC89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18" b="7618"/>
          <a:stretch/>
        </p:blipFill>
        <p:spPr>
          <a:xfrm>
            <a:off x="1599222" y="0"/>
            <a:ext cx="10592778" cy="6858001"/>
          </a:xfrm>
          <a:prstGeom prst="rect">
            <a:avLst/>
          </a:prstGeom>
        </p:spPr>
      </p:pic>
      <p:pic>
        <p:nvPicPr>
          <p:cNvPr id="10" name="Picture 9" descr="A picture containing light, traffic, red, star&#10;&#10;Description automatically generated">
            <a:extLst>
              <a:ext uri="{FF2B5EF4-FFF2-40B4-BE49-F238E27FC236}">
                <a16:creationId xmlns:a16="http://schemas.microsoft.com/office/drawing/2014/main" id="{E0E5A6D6-0B09-4EDF-880D-168BBFE8A3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18" r="97293" b="7618"/>
          <a:stretch/>
        </p:blipFill>
        <p:spPr>
          <a:xfrm flipH="1">
            <a:off x="-9524" y="1"/>
            <a:ext cx="1621446" cy="6858000"/>
          </a:xfrm>
          <a:prstGeom prst="rect">
            <a:avLst/>
          </a:prstGeom>
        </p:spPr>
      </p:pic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85BAABF-22D5-4937-9A78-67AD4FA823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latin typeface="Montserrat" panose="00000500000000000000" pitchFamily="2" charset="-18"/>
              <a:ea typeface="+mj-ea"/>
              <a:cs typeface="+mj-cs"/>
              <a:sym typeface="Montserrat" panose="00000500000000000000" pitchFamily="2" charset="-1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22F8D4-A0EA-40AB-8B29-C6A1A37D3A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2966" y="2504245"/>
            <a:ext cx="5396892" cy="1477328"/>
          </a:xfrm>
        </p:spPr>
        <p:txBody>
          <a:bodyPr vert="horz" anchor="b"/>
          <a:lstStyle>
            <a:lvl1pPr algn="l">
              <a:lnSpc>
                <a:spcPct val="100000"/>
              </a:lnSpc>
              <a:spcBef>
                <a:spcPts val="0"/>
              </a:spcBef>
              <a:defRPr sz="4800" b="1">
                <a:solidFill>
                  <a:schemeClr val="bg1"/>
                </a:solidFill>
                <a:latin typeface="Bai Jamjuree" panose="00000500000000000000" pitchFamily="2" charset="-34"/>
                <a:cs typeface="Bai Jamjuree" panose="00000500000000000000" pitchFamily="2" charset="-3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A7DC9DA-0751-434D-87B8-60F37CA324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2966" y="4536103"/>
            <a:ext cx="5396892" cy="276999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Bai Jamjuree" panose="00000500000000000000" pitchFamily="2" charset="-34"/>
                <a:cs typeface="Bai Jamjuree" panose="00000500000000000000" pitchFamily="2" charset="-34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FFD647-1D5C-4418-8347-07DD00AC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Bai Jamjuree" panose="00000500000000000000" pitchFamily="2" charset="-34"/>
                <a:cs typeface="Bai Jamjuree" panose="00000500000000000000" pitchFamily="2" charset="-34"/>
              </a:defRPr>
            </a:lvl1pPr>
          </a:lstStyle>
          <a:p>
            <a:fld id="{6F64FA0B-D8D5-45D2-AA0B-680827D56F89}" type="datetime1">
              <a:rPr lang="en-US" smtClean="0"/>
              <a:pPr/>
              <a:t>4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48D8F9-7A50-45A1-A2B8-A07A57396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46579"/>
            <a:ext cx="4114800" cy="18466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Bai Jamjuree" panose="00000500000000000000" pitchFamily="2" charset="-34"/>
                <a:cs typeface="Bai Jamjuree" panose="00000500000000000000" pitchFamily="2" charset="-34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0A4523-49EB-4F1C-9B1F-483E9759D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Bai Jamjuree" panose="00000500000000000000" pitchFamily="2" charset="-34"/>
                <a:cs typeface="Bai Jamjuree" panose="00000500000000000000" pitchFamily="2" charset="-34"/>
              </a:defRPr>
            </a:lvl1pPr>
          </a:lstStyle>
          <a:p>
            <a:fld id="{2837C99E-FD15-4DCC-8D86-578F5468FE4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6CED94-F737-4435-9FD3-35F77318C962}"/>
              </a:ext>
            </a:extLst>
          </p:cNvPr>
          <p:cNvGrpSpPr/>
          <p:nvPr userDrawn="1"/>
        </p:nvGrpSpPr>
        <p:grpSpPr>
          <a:xfrm>
            <a:off x="467367" y="450537"/>
            <a:ext cx="2327593" cy="647003"/>
            <a:chOff x="593546" y="589418"/>
            <a:chExt cx="2327593" cy="647003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903A0A0-A2A0-48E4-858E-3862DEABE3CE}"/>
                </a:ext>
              </a:extLst>
            </p:cNvPr>
            <p:cNvSpPr/>
            <p:nvPr/>
          </p:nvSpPr>
          <p:spPr>
            <a:xfrm>
              <a:off x="593546" y="589418"/>
              <a:ext cx="660680" cy="643096"/>
            </a:xfrm>
            <a:custGeom>
              <a:avLst/>
              <a:gdLst>
                <a:gd name="connsiteX0" fmla="*/ 327968 w 660680"/>
                <a:gd name="connsiteY0" fmla="*/ 643096 h 643096"/>
                <a:gd name="connsiteX1" fmla="*/ 0 w 660680"/>
                <a:gd name="connsiteY1" fmla="*/ 643096 h 643096"/>
                <a:gd name="connsiteX2" fmla="*/ 0 w 660680"/>
                <a:gd name="connsiteY2" fmla="*/ 0 h 643096"/>
                <a:gd name="connsiteX3" fmla="*/ 327968 w 660680"/>
                <a:gd name="connsiteY3" fmla="*/ 0 h 643096"/>
                <a:gd name="connsiteX4" fmla="*/ 547636 w 660680"/>
                <a:gd name="connsiteY4" fmla="*/ 66431 h 643096"/>
                <a:gd name="connsiteX5" fmla="*/ 652865 w 660680"/>
                <a:gd name="connsiteY5" fmla="*/ 216040 h 643096"/>
                <a:gd name="connsiteX6" fmla="*/ 659564 w 660680"/>
                <a:gd name="connsiteY6" fmla="*/ 236695 h 643096"/>
                <a:gd name="connsiteX7" fmla="*/ 545403 w 660680"/>
                <a:gd name="connsiteY7" fmla="*/ 236695 h 643096"/>
                <a:gd name="connsiteX8" fmla="*/ 540937 w 660680"/>
                <a:gd name="connsiteY8" fmla="*/ 227763 h 643096"/>
                <a:gd name="connsiteX9" fmla="*/ 330201 w 660680"/>
                <a:gd name="connsiteY9" fmla="*/ 104112 h 643096"/>
                <a:gd name="connsiteX10" fmla="*/ 102996 w 660680"/>
                <a:gd name="connsiteY10" fmla="*/ 104112 h 643096"/>
                <a:gd name="connsiteX11" fmla="*/ 102996 w 660680"/>
                <a:gd name="connsiteY11" fmla="*/ 537867 h 643096"/>
                <a:gd name="connsiteX12" fmla="*/ 325735 w 660680"/>
                <a:gd name="connsiteY12" fmla="*/ 537867 h 643096"/>
                <a:gd name="connsiteX13" fmla="*/ 540100 w 660680"/>
                <a:gd name="connsiteY13" fmla="*/ 440454 h 643096"/>
                <a:gd name="connsiteX14" fmla="*/ 491254 w 660680"/>
                <a:gd name="connsiteY14" fmla="*/ 440454 h 643096"/>
                <a:gd name="connsiteX15" fmla="*/ 327968 w 660680"/>
                <a:gd name="connsiteY15" fmla="*/ 504652 h 643096"/>
                <a:gd name="connsiteX16" fmla="*/ 142910 w 660680"/>
                <a:gd name="connsiteY16" fmla="*/ 504652 h 643096"/>
                <a:gd name="connsiteX17" fmla="*/ 142910 w 660680"/>
                <a:gd name="connsiteY17" fmla="*/ 138444 h 643096"/>
                <a:gd name="connsiteX18" fmla="*/ 327968 w 660680"/>
                <a:gd name="connsiteY18" fmla="*/ 138444 h 643096"/>
                <a:gd name="connsiteX19" fmla="*/ 468645 w 660680"/>
                <a:gd name="connsiteY19" fmla="*/ 188407 h 643096"/>
                <a:gd name="connsiteX20" fmla="*/ 509955 w 660680"/>
                <a:gd name="connsiteY20" fmla="*/ 271306 h 643096"/>
                <a:gd name="connsiteX21" fmla="*/ 660681 w 660680"/>
                <a:gd name="connsiteY21" fmla="*/ 271585 h 643096"/>
                <a:gd name="connsiteX22" fmla="*/ 660681 w 660680"/>
                <a:gd name="connsiteY22" fmla="*/ 303126 h 643096"/>
                <a:gd name="connsiteX23" fmla="*/ 485113 w 660680"/>
                <a:gd name="connsiteY23" fmla="*/ 302847 h 643096"/>
                <a:gd name="connsiteX24" fmla="*/ 481764 w 660680"/>
                <a:gd name="connsiteY24" fmla="*/ 291403 h 643096"/>
                <a:gd name="connsiteX25" fmla="*/ 478972 w 660680"/>
                <a:gd name="connsiteY25" fmla="*/ 281634 h 643096"/>
                <a:gd name="connsiteX26" fmla="*/ 327968 w 660680"/>
                <a:gd name="connsiteY26" fmla="*/ 169985 h 643096"/>
                <a:gd name="connsiteX27" fmla="*/ 175567 w 660680"/>
                <a:gd name="connsiteY27" fmla="*/ 169985 h 643096"/>
                <a:gd name="connsiteX28" fmla="*/ 175567 w 660680"/>
                <a:gd name="connsiteY28" fmla="*/ 472553 h 643096"/>
                <a:gd name="connsiteX29" fmla="*/ 327968 w 660680"/>
                <a:gd name="connsiteY29" fmla="*/ 472553 h 643096"/>
                <a:gd name="connsiteX30" fmla="*/ 469203 w 660680"/>
                <a:gd name="connsiteY30" fmla="*/ 415333 h 643096"/>
                <a:gd name="connsiteX31" fmla="*/ 473948 w 660680"/>
                <a:gd name="connsiteY31" fmla="*/ 408355 h 643096"/>
                <a:gd name="connsiteX32" fmla="*/ 583085 w 660680"/>
                <a:gd name="connsiteY32" fmla="*/ 408355 h 643096"/>
                <a:gd name="connsiteX33" fmla="*/ 578898 w 660680"/>
                <a:gd name="connsiteY33" fmla="*/ 427614 h 643096"/>
                <a:gd name="connsiteX34" fmla="*/ 511071 w 660680"/>
                <a:gd name="connsiteY34" fmla="*/ 519724 h 643096"/>
                <a:gd name="connsiteX35" fmla="*/ 325735 w 660680"/>
                <a:gd name="connsiteY35" fmla="*/ 569408 h 643096"/>
                <a:gd name="connsiteX36" fmla="*/ 70339 w 660680"/>
                <a:gd name="connsiteY36" fmla="*/ 569408 h 643096"/>
                <a:gd name="connsiteX37" fmla="*/ 70339 w 660680"/>
                <a:gd name="connsiteY37" fmla="*/ 72292 h 643096"/>
                <a:gd name="connsiteX38" fmla="*/ 329922 w 660680"/>
                <a:gd name="connsiteY38" fmla="*/ 72292 h 643096"/>
                <a:gd name="connsiteX39" fmla="*/ 493487 w 660680"/>
                <a:gd name="connsiteY39" fmla="*/ 117789 h 643096"/>
                <a:gd name="connsiteX40" fmla="*/ 565500 w 660680"/>
                <a:gd name="connsiteY40" fmla="*/ 204875 h 643096"/>
                <a:gd name="connsiteX41" fmla="*/ 614067 w 660680"/>
                <a:gd name="connsiteY41" fmla="*/ 204875 h 643096"/>
                <a:gd name="connsiteX42" fmla="*/ 327968 w 660680"/>
                <a:gd name="connsiteY42" fmla="*/ 31820 h 643096"/>
                <a:gd name="connsiteX43" fmla="*/ 32657 w 660680"/>
                <a:gd name="connsiteY43" fmla="*/ 31820 h 643096"/>
                <a:gd name="connsiteX44" fmla="*/ 32657 w 660680"/>
                <a:gd name="connsiteY44" fmla="*/ 611276 h 643096"/>
                <a:gd name="connsiteX45" fmla="*/ 327968 w 660680"/>
                <a:gd name="connsiteY45" fmla="*/ 611276 h 643096"/>
                <a:gd name="connsiteX46" fmla="*/ 534797 w 660680"/>
                <a:gd name="connsiteY46" fmla="*/ 552382 h 643096"/>
                <a:gd name="connsiteX47" fmla="*/ 624674 w 660680"/>
                <a:gd name="connsiteY47" fmla="*/ 373186 h 643096"/>
                <a:gd name="connsiteX48" fmla="*/ 483718 w 660680"/>
                <a:gd name="connsiteY48" fmla="*/ 373186 h 643096"/>
                <a:gd name="connsiteX49" fmla="*/ 483718 w 660680"/>
                <a:gd name="connsiteY49" fmla="*/ 341645 h 643096"/>
                <a:gd name="connsiteX50" fmla="*/ 657889 w 660680"/>
                <a:gd name="connsiteY50" fmla="*/ 341645 h 643096"/>
                <a:gd name="connsiteX51" fmla="*/ 657889 w 660680"/>
                <a:gd name="connsiteY51" fmla="*/ 357555 h 643096"/>
                <a:gd name="connsiteX52" fmla="*/ 554614 w 660680"/>
                <a:gd name="connsiteY52" fmla="*/ 577782 h 643096"/>
                <a:gd name="connsiteX53" fmla="*/ 327968 w 660680"/>
                <a:gd name="connsiteY53" fmla="*/ 643096 h 643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60680" h="643096">
                  <a:moveTo>
                    <a:pt x="327968" y="643096"/>
                  </a:moveTo>
                  <a:lnTo>
                    <a:pt x="0" y="643096"/>
                  </a:lnTo>
                  <a:lnTo>
                    <a:pt x="0" y="0"/>
                  </a:lnTo>
                  <a:lnTo>
                    <a:pt x="327968" y="0"/>
                  </a:lnTo>
                  <a:cubicBezTo>
                    <a:pt x="415333" y="0"/>
                    <a:pt x="489300" y="22330"/>
                    <a:pt x="547636" y="66431"/>
                  </a:cubicBezTo>
                  <a:cubicBezTo>
                    <a:pt x="596762" y="103554"/>
                    <a:pt x="633327" y="155192"/>
                    <a:pt x="652865" y="216040"/>
                  </a:cubicBezTo>
                  <a:lnTo>
                    <a:pt x="659564" y="236695"/>
                  </a:lnTo>
                  <a:lnTo>
                    <a:pt x="545403" y="236695"/>
                  </a:lnTo>
                  <a:lnTo>
                    <a:pt x="540937" y="227763"/>
                  </a:lnTo>
                  <a:cubicBezTo>
                    <a:pt x="508838" y="163565"/>
                    <a:pt x="461109" y="104112"/>
                    <a:pt x="330201" y="104112"/>
                  </a:cubicBezTo>
                  <a:lnTo>
                    <a:pt x="102996" y="104112"/>
                  </a:lnTo>
                  <a:lnTo>
                    <a:pt x="102996" y="537867"/>
                  </a:lnTo>
                  <a:lnTo>
                    <a:pt x="325735" y="537867"/>
                  </a:lnTo>
                  <a:cubicBezTo>
                    <a:pt x="458317" y="537867"/>
                    <a:pt x="519724" y="481764"/>
                    <a:pt x="540100" y="440454"/>
                  </a:cubicBezTo>
                  <a:lnTo>
                    <a:pt x="491254" y="440454"/>
                  </a:lnTo>
                  <a:cubicBezTo>
                    <a:pt x="457201" y="485392"/>
                    <a:pt x="407796" y="504652"/>
                    <a:pt x="327968" y="504652"/>
                  </a:cubicBezTo>
                  <a:lnTo>
                    <a:pt x="142910" y="504652"/>
                  </a:lnTo>
                  <a:lnTo>
                    <a:pt x="142910" y="138444"/>
                  </a:lnTo>
                  <a:lnTo>
                    <a:pt x="327968" y="138444"/>
                  </a:lnTo>
                  <a:cubicBezTo>
                    <a:pt x="390212" y="138444"/>
                    <a:pt x="437662" y="155192"/>
                    <a:pt x="468645" y="188407"/>
                  </a:cubicBezTo>
                  <a:cubicBezTo>
                    <a:pt x="494045" y="215482"/>
                    <a:pt x="503814" y="248418"/>
                    <a:pt x="509955" y="271306"/>
                  </a:cubicBezTo>
                  <a:lnTo>
                    <a:pt x="660681" y="271585"/>
                  </a:lnTo>
                  <a:lnTo>
                    <a:pt x="660681" y="303126"/>
                  </a:lnTo>
                  <a:lnTo>
                    <a:pt x="485113" y="302847"/>
                  </a:lnTo>
                  <a:lnTo>
                    <a:pt x="481764" y="291403"/>
                  </a:lnTo>
                  <a:cubicBezTo>
                    <a:pt x="480926" y="288333"/>
                    <a:pt x="480089" y="284983"/>
                    <a:pt x="478972" y="281634"/>
                  </a:cubicBezTo>
                  <a:cubicBezTo>
                    <a:pt x="466691" y="237253"/>
                    <a:pt x="448269" y="169985"/>
                    <a:pt x="327968" y="169985"/>
                  </a:cubicBezTo>
                  <a:lnTo>
                    <a:pt x="175567" y="169985"/>
                  </a:lnTo>
                  <a:lnTo>
                    <a:pt x="175567" y="472553"/>
                  </a:lnTo>
                  <a:lnTo>
                    <a:pt x="327968" y="472553"/>
                  </a:lnTo>
                  <a:cubicBezTo>
                    <a:pt x="412821" y="472553"/>
                    <a:pt x="445757" y="449665"/>
                    <a:pt x="469203" y="415333"/>
                  </a:cubicBezTo>
                  <a:lnTo>
                    <a:pt x="473948" y="408355"/>
                  </a:lnTo>
                  <a:lnTo>
                    <a:pt x="583085" y="408355"/>
                  </a:lnTo>
                  <a:lnTo>
                    <a:pt x="578898" y="427614"/>
                  </a:lnTo>
                  <a:cubicBezTo>
                    <a:pt x="575548" y="443524"/>
                    <a:pt x="561872" y="484276"/>
                    <a:pt x="511071" y="519724"/>
                  </a:cubicBezTo>
                  <a:cubicBezTo>
                    <a:pt x="464179" y="552661"/>
                    <a:pt x="401656" y="569408"/>
                    <a:pt x="325735" y="569408"/>
                  </a:cubicBezTo>
                  <a:lnTo>
                    <a:pt x="70339" y="569408"/>
                  </a:lnTo>
                  <a:lnTo>
                    <a:pt x="70339" y="72292"/>
                  </a:lnTo>
                  <a:lnTo>
                    <a:pt x="329922" y="72292"/>
                  </a:lnTo>
                  <a:cubicBezTo>
                    <a:pt x="398027" y="72292"/>
                    <a:pt x="451339" y="87086"/>
                    <a:pt x="493487" y="117789"/>
                  </a:cubicBezTo>
                  <a:cubicBezTo>
                    <a:pt x="529214" y="143748"/>
                    <a:pt x="550707" y="176963"/>
                    <a:pt x="565500" y="204875"/>
                  </a:cubicBezTo>
                  <a:lnTo>
                    <a:pt x="614067" y="204875"/>
                  </a:lnTo>
                  <a:cubicBezTo>
                    <a:pt x="587551" y="140398"/>
                    <a:pt x="514979" y="31820"/>
                    <a:pt x="327968" y="31820"/>
                  </a:cubicBezTo>
                  <a:lnTo>
                    <a:pt x="32657" y="31820"/>
                  </a:lnTo>
                  <a:lnTo>
                    <a:pt x="32657" y="611276"/>
                  </a:lnTo>
                  <a:lnTo>
                    <a:pt x="327968" y="611276"/>
                  </a:lnTo>
                  <a:cubicBezTo>
                    <a:pt x="410029" y="611276"/>
                    <a:pt x="483438" y="590342"/>
                    <a:pt x="534797" y="552382"/>
                  </a:cubicBezTo>
                  <a:cubicBezTo>
                    <a:pt x="590900" y="510792"/>
                    <a:pt x="621324" y="450502"/>
                    <a:pt x="624674" y="373186"/>
                  </a:cubicBezTo>
                  <a:lnTo>
                    <a:pt x="483718" y="373186"/>
                  </a:lnTo>
                  <a:lnTo>
                    <a:pt x="483718" y="341645"/>
                  </a:lnTo>
                  <a:lnTo>
                    <a:pt x="657889" y="341645"/>
                  </a:lnTo>
                  <a:lnTo>
                    <a:pt x="657889" y="357555"/>
                  </a:lnTo>
                  <a:cubicBezTo>
                    <a:pt x="657889" y="451619"/>
                    <a:pt x="622162" y="527819"/>
                    <a:pt x="554614" y="577782"/>
                  </a:cubicBezTo>
                  <a:cubicBezTo>
                    <a:pt x="496836" y="620487"/>
                    <a:pt x="418403" y="643096"/>
                    <a:pt x="327968" y="643096"/>
                  </a:cubicBezTo>
                </a:path>
              </a:pathLst>
            </a:custGeom>
            <a:solidFill>
              <a:srgbClr val="29B7EA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1EE6F70-3D28-4F79-8B4B-ACF022874290}"/>
                </a:ext>
              </a:extLst>
            </p:cNvPr>
            <p:cNvSpPr/>
            <p:nvPr/>
          </p:nvSpPr>
          <p:spPr>
            <a:xfrm>
              <a:off x="1486455" y="809644"/>
              <a:ext cx="148213" cy="205712"/>
            </a:xfrm>
            <a:custGeom>
              <a:avLst/>
              <a:gdLst>
                <a:gd name="connsiteX0" fmla="*/ 115556 w 148213"/>
                <a:gd name="connsiteY0" fmla="*/ 193152 h 205712"/>
                <a:gd name="connsiteX1" fmla="*/ 75921 w 148213"/>
                <a:gd name="connsiteY1" fmla="*/ 205713 h 205712"/>
                <a:gd name="connsiteX2" fmla="*/ 0 w 148213"/>
                <a:gd name="connsiteY2" fmla="*/ 131745 h 205712"/>
                <a:gd name="connsiteX3" fmla="*/ 75921 w 148213"/>
                <a:gd name="connsiteY3" fmla="*/ 57778 h 205712"/>
                <a:gd name="connsiteX4" fmla="*/ 115556 w 148213"/>
                <a:gd name="connsiteY4" fmla="*/ 70618 h 205712"/>
                <a:gd name="connsiteX5" fmla="*/ 115556 w 148213"/>
                <a:gd name="connsiteY5" fmla="*/ 0 h 205712"/>
                <a:gd name="connsiteX6" fmla="*/ 148214 w 148213"/>
                <a:gd name="connsiteY6" fmla="*/ 0 h 205712"/>
                <a:gd name="connsiteX7" fmla="*/ 148214 w 148213"/>
                <a:gd name="connsiteY7" fmla="*/ 203480 h 205712"/>
                <a:gd name="connsiteX8" fmla="*/ 115556 w 148213"/>
                <a:gd name="connsiteY8" fmla="*/ 203480 h 205712"/>
                <a:gd name="connsiteX9" fmla="*/ 115556 w 148213"/>
                <a:gd name="connsiteY9" fmla="*/ 193152 h 205712"/>
                <a:gd name="connsiteX10" fmla="*/ 115556 w 148213"/>
                <a:gd name="connsiteY10" fmla="*/ 156029 h 205712"/>
                <a:gd name="connsiteX11" fmla="*/ 115556 w 148213"/>
                <a:gd name="connsiteY11" fmla="*/ 107183 h 205712"/>
                <a:gd name="connsiteX12" fmla="*/ 76200 w 148213"/>
                <a:gd name="connsiteY12" fmla="*/ 87644 h 205712"/>
                <a:gd name="connsiteX13" fmla="*/ 33215 w 148213"/>
                <a:gd name="connsiteY13" fmla="*/ 131466 h 205712"/>
                <a:gd name="connsiteX14" fmla="*/ 76200 w 148213"/>
                <a:gd name="connsiteY14" fmla="*/ 175288 h 205712"/>
                <a:gd name="connsiteX15" fmla="*/ 115556 w 148213"/>
                <a:gd name="connsiteY15" fmla="*/ 156029 h 20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205712">
                  <a:moveTo>
                    <a:pt x="115556" y="193152"/>
                  </a:moveTo>
                  <a:cubicBezTo>
                    <a:pt x="105229" y="201247"/>
                    <a:pt x="91552" y="205713"/>
                    <a:pt x="75921" y="205713"/>
                  </a:cubicBezTo>
                  <a:cubicBezTo>
                    <a:pt x="32099" y="205713"/>
                    <a:pt x="0" y="173614"/>
                    <a:pt x="0" y="131745"/>
                  </a:cubicBezTo>
                  <a:cubicBezTo>
                    <a:pt x="0" y="89877"/>
                    <a:pt x="32099" y="57778"/>
                    <a:pt x="75921" y="57778"/>
                  </a:cubicBezTo>
                  <a:cubicBezTo>
                    <a:pt x="91552" y="57778"/>
                    <a:pt x="105229" y="62523"/>
                    <a:pt x="115556" y="70618"/>
                  </a:cubicBezTo>
                  <a:lnTo>
                    <a:pt x="115556" y="0"/>
                  </a:lnTo>
                  <a:lnTo>
                    <a:pt x="148214" y="0"/>
                  </a:lnTo>
                  <a:lnTo>
                    <a:pt x="148214" y="203480"/>
                  </a:lnTo>
                  <a:lnTo>
                    <a:pt x="115556" y="203480"/>
                  </a:lnTo>
                  <a:lnTo>
                    <a:pt x="115556" y="193152"/>
                  </a:lnTo>
                  <a:moveTo>
                    <a:pt x="115556" y="156029"/>
                  </a:moveTo>
                  <a:lnTo>
                    <a:pt x="115556" y="107183"/>
                  </a:lnTo>
                  <a:cubicBezTo>
                    <a:pt x="107462" y="95460"/>
                    <a:pt x="92389" y="87644"/>
                    <a:pt x="76200" y="87644"/>
                  </a:cubicBezTo>
                  <a:cubicBezTo>
                    <a:pt x="51079" y="87644"/>
                    <a:pt x="33215" y="106624"/>
                    <a:pt x="33215" y="131466"/>
                  </a:cubicBezTo>
                  <a:cubicBezTo>
                    <a:pt x="33215" y="156308"/>
                    <a:pt x="51079" y="175288"/>
                    <a:pt x="76200" y="175288"/>
                  </a:cubicBezTo>
                  <a:cubicBezTo>
                    <a:pt x="92668" y="175567"/>
                    <a:pt x="107741" y="167752"/>
                    <a:pt x="115556" y="156029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063A82C-9F6B-40E1-ADC7-BC7A3F9C050A}"/>
                </a:ext>
              </a:extLst>
            </p:cNvPr>
            <p:cNvSpPr/>
            <p:nvPr/>
          </p:nvSpPr>
          <p:spPr>
            <a:xfrm>
              <a:off x="1658394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4 w 148213"/>
                <a:gd name="connsiteY6" fmla="*/ 2233 h 147934"/>
                <a:gd name="connsiteX7" fmla="*/ 148214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5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4" y="2233"/>
                  </a:lnTo>
                  <a:lnTo>
                    <a:pt x="148214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5" y="48846"/>
                    <a:pt x="33215" y="73688"/>
                  </a:cubicBezTo>
                  <a:cubicBezTo>
                    <a:pt x="33215" y="98530"/>
                    <a:pt x="51079" y="117510"/>
                    <a:pt x="76200" y="117510"/>
                  </a:cubicBezTo>
                  <a:cubicBezTo>
                    <a:pt x="92389" y="117789"/>
                    <a:pt x="107462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5397977-C01A-4723-9B4C-A5B5A0C72F9B}"/>
                </a:ext>
              </a:extLst>
            </p:cNvPr>
            <p:cNvSpPr/>
            <p:nvPr/>
          </p:nvSpPr>
          <p:spPr>
            <a:xfrm>
              <a:off x="1825029" y="826671"/>
              <a:ext cx="108578" cy="186453"/>
            </a:xfrm>
            <a:custGeom>
              <a:avLst/>
              <a:gdLst>
                <a:gd name="connsiteX0" fmla="*/ 279 w 108578"/>
                <a:gd name="connsiteY0" fmla="*/ 42985 h 186453"/>
                <a:gd name="connsiteX1" fmla="*/ 21213 w 108578"/>
                <a:gd name="connsiteY1" fmla="*/ 42985 h 186453"/>
                <a:gd name="connsiteX2" fmla="*/ 21213 w 108578"/>
                <a:gd name="connsiteY2" fmla="*/ 15352 h 186453"/>
                <a:gd name="connsiteX3" fmla="*/ 53591 w 108578"/>
                <a:gd name="connsiteY3" fmla="*/ 0 h 186453"/>
                <a:gd name="connsiteX4" fmla="*/ 53591 w 108578"/>
                <a:gd name="connsiteY4" fmla="*/ 42985 h 186453"/>
                <a:gd name="connsiteX5" fmla="*/ 108578 w 108578"/>
                <a:gd name="connsiteY5" fmla="*/ 42985 h 186453"/>
                <a:gd name="connsiteX6" fmla="*/ 91552 w 108578"/>
                <a:gd name="connsiteY6" fmla="*/ 71176 h 186453"/>
                <a:gd name="connsiteX7" fmla="*/ 53591 w 108578"/>
                <a:gd name="connsiteY7" fmla="*/ 71176 h 186453"/>
                <a:gd name="connsiteX8" fmla="*/ 53591 w 108578"/>
                <a:gd name="connsiteY8" fmla="*/ 136211 h 186453"/>
                <a:gd name="connsiteX9" fmla="*/ 74525 w 108578"/>
                <a:gd name="connsiteY9" fmla="*/ 157425 h 186453"/>
                <a:gd name="connsiteX10" fmla="*/ 94901 w 108578"/>
                <a:gd name="connsiteY10" fmla="*/ 157425 h 186453"/>
                <a:gd name="connsiteX11" fmla="*/ 94901 w 108578"/>
                <a:gd name="connsiteY11" fmla="*/ 186453 h 186453"/>
                <a:gd name="connsiteX12" fmla="*/ 66152 w 108578"/>
                <a:gd name="connsiteY12" fmla="*/ 186453 h 186453"/>
                <a:gd name="connsiteX13" fmla="*/ 20934 w 108578"/>
                <a:gd name="connsiteY13" fmla="*/ 142910 h 186453"/>
                <a:gd name="connsiteX14" fmla="*/ 20934 w 108578"/>
                <a:gd name="connsiteY14" fmla="*/ 71176 h 186453"/>
                <a:gd name="connsiteX15" fmla="*/ 0 w 108578"/>
                <a:gd name="connsiteY15" fmla="*/ 71176 h 186453"/>
                <a:gd name="connsiteX16" fmla="*/ 0 w 108578"/>
                <a:gd name="connsiteY16" fmla="*/ 42985 h 186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8578" h="186453">
                  <a:moveTo>
                    <a:pt x="279" y="42985"/>
                  </a:moveTo>
                  <a:lnTo>
                    <a:pt x="21213" y="42985"/>
                  </a:lnTo>
                  <a:lnTo>
                    <a:pt x="21213" y="15352"/>
                  </a:lnTo>
                  <a:lnTo>
                    <a:pt x="53591" y="0"/>
                  </a:lnTo>
                  <a:lnTo>
                    <a:pt x="53591" y="42985"/>
                  </a:lnTo>
                  <a:lnTo>
                    <a:pt x="108578" y="42985"/>
                  </a:lnTo>
                  <a:lnTo>
                    <a:pt x="91552" y="71176"/>
                  </a:lnTo>
                  <a:lnTo>
                    <a:pt x="53591" y="71176"/>
                  </a:lnTo>
                  <a:lnTo>
                    <a:pt x="53591" y="136211"/>
                  </a:lnTo>
                  <a:cubicBezTo>
                    <a:pt x="53591" y="150726"/>
                    <a:pt x="57778" y="157425"/>
                    <a:pt x="74525" y="157425"/>
                  </a:cubicBezTo>
                  <a:lnTo>
                    <a:pt x="94901" y="157425"/>
                  </a:lnTo>
                  <a:lnTo>
                    <a:pt x="94901" y="186453"/>
                  </a:lnTo>
                  <a:lnTo>
                    <a:pt x="66152" y="186453"/>
                  </a:lnTo>
                  <a:cubicBezTo>
                    <a:pt x="37681" y="186453"/>
                    <a:pt x="20934" y="170264"/>
                    <a:pt x="20934" y="142910"/>
                  </a:cubicBezTo>
                  <a:lnTo>
                    <a:pt x="20934" y="71176"/>
                  </a:lnTo>
                  <a:lnTo>
                    <a:pt x="0" y="71176"/>
                  </a:lnTo>
                  <a:lnTo>
                    <a:pt x="0" y="42985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2E2D2D5-9399-4877-9EF8-24BD62EEED5B}"/>
                </a:ext>
              </a:extLst>
            </p:cNvPr>
            <p:cNvSpPr/>
            <p:nvPr/>
          </p:nvSpPr>
          <p:spPr>
            <a:xfrm>
              <a:off x="1931933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3 w 148213"/>
                <a:gd name="connsiteY6" fmla="*/ 2233 h 147934"/>
                <a:gd name="connsiteX7" fmla="*/ 148213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5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3" y="2233"/>
                  </a:lnTo>
                  <a:lnTo>
                    <a:pt x="148213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5" y="48846"/>
                    <a:pt x="33215" y="73688"/>
                  </a:cubicBezTo>
                  <a:cubicBezTo>
                    <a:pt x="33215" y="98530"/>
                    <a:pt x="51079" y="117510"/>
                    <a:pt x="76200" y="117510"/>
                  </a:cubicBezTo>
                  <a:cubicBezTo>
                    <a:pt x="92389" y="117789"/>
                    <a:pt x="107462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4201533-9C5C-43F7-9527-626E05AEEA51}"/>
                </a:ext>
              </a:extLst>
            </p:cNvPr>
            <p:cNvSpPr/>
            <p:nvPr/>
          </p:nvSpPr>
          <p:spPr>
            <a:xfrm>
              <a:off x="2103593" y="867423"/>
              <a:ext cx="132582" cy="147934"/>
            </a:xfrm>
            <a:custGeom>
              <a:avLst/>
              <a:gdLst>
                <a:gd name="connsiteX0" fmla="*/ 0 w 132582"/>
                <a:gd name="connsiteY0" fmla="*/ 73967 h 147934"/>
                <a:gd name="connsiteX1" fmla="*/ 76200 w 132582"/>
                <a:gd name="connsiteY1" fmla="*/ 0 h 147934"/>
                <a:gd name="connsiteX2" fmla="*/ 132583 w 132582"/>
                <a:gd name="connsiteY2" fmla="*/ 23725 h 147934"/>
                <a:gd name="connsiteX3" fmla="*/ 110532 w 132582"/>
                <a:gd name="connsiteY3" fmla="*/ 45776 h 147934"/>
                <a:gd name="connsiteX4" fmla="*/ 76200 w 132582"/>
                <a:gd name="connsiteY4" fmla="*/ 30703 h 147934"/>
                <a:gd name="connsiteX5" fmla="*/ 33216 w 132582"/>
                <a:gd name="connsiteY5" fmla="*/ 73967 h 147934"/>
                <a:gd name="connsiteX6" fmla="*/ 76200 w 132582"/>
                <a:gd name="connsiteY6" fmla="*/ 117231 h 147934"/>
                <a:gd name="connsiteX7" fmla="*/ 110532 w 132582"/>
                <a:gd name="connsiteY7" fmla="*/ 102158 h 147934"/>
                <a:gd name="connsiteX8" fmla="*/ 132583 w 132582"/>
                <a:gd name="connsiteY8" fmla="*/ 124209 h 147934"/>
                <a:gd name="connsiteX9" fmla="*/ 76200 w 132582"/>
                <a:gd name="connsiteY9" fmla="*/ 147934 h 147934"/>
                <a:gd name="connsiteX10" fmla="*/ 0 w 132582"/>
                <a:gd name="connsiteY10" fmla="*/ 73967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582" h="147934">
                  <a:moveTo>
                    <a:pt x="0" y="73967"/>
                  </a:moveTo>
                  <a:cubicBezTo>
                    <a:pt x="0" y="32099"/>
                    <a:pt x="32657" y="0"/>
                    <a:pt x="76200" y="0"/>
                  </a:cubicBezTo>
                  <a:cubicBezTo>
                    <a:pt x="99925" y="0"/>
                    <a:pt x="119185" y="9490"/>
                    <a:pt x="132583" y="23725"/>
                  </a:cubicBezTo>
                  <a:lnTo>
                    <a:pt x="110532" y="45776"/>
                  </a:lnTo>
                  <a:cubicBezTo>
                    <a:pt x="102717" y="37123"/>
                    <a:pt x="91552" y="30703"/>
                    <a:pt x="76200" y="30703"/>
                  </a:cubicBezTo>
                  <a:cubicBezTo>
                    <a:pt x="51079" y="30703"/>
                    <a:pt x="33216" y="49125"/>
                    <a:pt x="33216" y="73967"/>
                  </a:cubicBezTo>
                  <a:cubicBezTo>
                    <a:pt x="33216" y="98809"/>
                    <a:pt x="51079" y="117231"/>
                    <a:pt x="76200" y="117231"/>
                  </a:cubicBezTo>
                  <a:cubicBezTo>
                    <a:pt x="91552" y="117231"/>
                    <a:pt x="102717" y="110532"/>
                    <a:pt x="110532" y="102158"/>
                  </a:cubicBezTo>
                  <a:lnTo>
                    <a:pt x="132583" y="124209"/>
                  </a:lnTo>
                  <a:cubicBezTo>
                    <a:pt x="118906" y="138444"/>
                    <a:pt x="99646" y="147934"/>
                    <a:pt x="76200" y="147934"/>
                  </a:cubicBezTo>
                  <a:cubicBezTo>
                    <a:pt x="32378" y="147934"/>
                    <a:pt x="0" y="115835"/>
                    <a:pt x="0" y="73967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AE6375F-4C1D-4877-A930-4352F1AEABF6}"/>
                </a:ext>
              </a:extLst>
            </p:cNvPr>
            <p:cNvSpPr/>
            <p:nvPr/>
          </p:nvSpPr>
          <p:spPr>
            <a:xfrm>
              <a:off x="2258505" y="809644"/>
              <a:ext cx="32657" cy="203479"/>
            </a:xfrm>
            <a:custGeom>
              <a:avLst/>
              <a:gdLst>
                <a:gd name="connsiteX0" fmla="*/ 0 w 32657"/>
                <a:gd name="connsiteY0" fmla="*/ 0 h 203479"/>
                <a:gd name="connsiteX1" fmla="*/ 32657 w 32657"/>
                <a:gd name="connsiteY1" fmla="*/ 0 h 203479"/>
                <a:gd name="connsiteX2" fmla="*/ 32657 w 32657"/>
                <a:gd name="connsiteY2" fmla="*/ 203480 h 203479"/>
                <a:gd name="connsiteX3" fmla="*/ 0 w 32657"/>
                <a:gd name="connsiteY3" fmla="*/ 203480 h 203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57" h="203479">
                  <a:moveTo>
                    <a:pt x="0" y="0"/>
                  </a:moveTo>
                  <a:lnTo>
                    <a:pt x="32657" y="0"/>
                  </a:lnTo>
                  <a:lnTo>
                    <a:pt x="32657" y="203480"/>
                  </a:lnTo>
                  <a:lnTo>
                    <a:pt x="0" y="20348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ADBEE24-EC19-41F4-9E2D-90880BD0615C}"/>
                </a:ext>
              </a:extLst>
            </p:cNvPr>
            <p:cNvSpPr/>
            <p:nvPr/>
          </p:nvSpPr>
          <p:spPr>
            <a:xfrm>
              <a:off x="2314608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4 w 148213"/>
                <a:gd name="connsiteY6" fmla="*/ 2233 h 147934"/>
                <a:gd name="connsiteX7" fmla="*/ 148214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6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4" y="2233"/>
                  </a:lnTo>
                  <a:lnTo>
                    <a:pt x="148214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6" y="48846"/>
                    <a:pt x="33216" y="73688"/>
                  </a:cubicBezTo>
                  <a:cubicBezTo>
                    <a:pt x="33216" y="98530"/>
                    <a:pt x="51079" y="117510"/>
                    <a:pt x="76200" y="117510"/>
                  </a:cubicBezTo>
                  <a:cubicBezTo>
                    <a:pt x="92668" y="117789"/>
                    <a:pt x="107741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6C7DF46-4BEF-45D3-A34C-30AADD8AF554}"/>
                </a:ext>
              </a:extLst>
            </p:cNvPr>
            <p:cNvSpPr/>
            <p:nvPr/>
          </p:nvSpPr>
          <p:spPr>
            <a:xfrm>
              <a:off x="2489897" y="807411"/>
              <a:ext cx="42984" cy="205433"/>
            </a:xfrm>
            <a:custGeom>
              <a:avLst/>
              <a:gdLst>
                <a:gd name="connsiteX0" fmla="*/ 0 w 42984"/>
                <a:gd name="connsiteY0" fmla="*/ 20934 h 205433"/>
                <a:gd name="connsiteX1" fmla="*/ 21492 w 42984"/>
                <a:gd name="connsiteY1" fmla="*/ 0 h 205433"/>
                <a:gd name="connsiteX2" fmla="*/ 42985 w 42984"/>
                <a:gd name="connsiteY2" fmla="*/ 20934 h 205433"/>
                <a:gd name="connsiteX3" fmla="*/ 37681 w 42984"/>
                <a:gd name="connsiteY3" fmla="*/ 34611 h 205433"/>
                <a:gd name="connsiteX4" fmla="*/ 5303 w 42984"/>
                <a:gd name="connsiteY4" fmla="*/ 34611 h 205433"/>
                <a:gd name="connsiteX5" fmla="*/ 0 w 42984"/>
                <a:gd name="connsiteY5" fmla="*/ 20934 h 205433"/>
                <a:gd name="connsiteX6" fmla="*/ 5303 w 42984"/>
                <a:gd name="connsiteY6" fmla="*/ 62244 h 205433"/>
                <a:gd name="connsiteX7" fmla="*/ 37960 w 42984"/>
                <a:gd name="connsiteY7" fmla="*/ 62244 h 205433"/>
                <a:gd name="connsiteX8" fmla="*/ 37960 w 42984"/>
                <a:gd name="connsiteY8" fmla="*/ 205433 h 205433"/>
                <a:gd name="connsiteX9" fmla="*/ 5582 w 42984"/>
                <a:gd name="connsiteY9" fmla="*/ 205433 h 205433"/>
                <a:gd name="connsiteX10" fmla="*/ 5582 w 42984"/>
                <a:gd name="connsiteY10" fmla="*/ 62244 h 20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984" h="205433">
                  <a:moveTo>
                    <a:pt x="0" y="20934"/>
                  </a:moveTo>
                  <a:cubicBezTo>
                    <a:pt x="0" y="9490"/>
                    <a:pt x="9769" y="0"/>
                    <a:pt x="21492" y="0"/>
                  </a:cubicBezTo>
                  <a:cubicBezTo>
                    <a:pt x="33215" y="0"/>
                    <a:pt x="42985" y="9490"/>
                    <a:pt x="42985" y="20934"/>
                  </a:cubicBezTo>
                  <a:cubicBezTo>
                    <a:pt x="42985" y="25679"/>
                    <a:pt x="41310" y="30703"/>
                    <a:pt x="37681" y="34611"/>
                  </a:cubicBezTo>
                  <a:lnTo>
                    <a:pt x="5303" y="34611"/>
                  </a:lnTo>
                  <a:cubicBezTo>
                    <a:pt x="2233" y="30982"/>
                    <a:pt x="0" y="26237"/>
                    <a:pt x="0" y="20934"/>
                  </a:cubicBezTo>
                  <a:moveTo>
                    <a:pt x="5303" y="62244"/>
                  </a:moveTo>
                  <a:lnTo>
                    <a:pt x="37960" y="62244"/>
                  </a:lnTo>
                  <a:lnTo>
                    <a:pt x="37960" y="205433"/>
                  </a:lnTo>
                  <a:lnTo>
                    <a:pt x="5582" y="205433"/>
                  </a:lnTo>
                  <a:lnTo>
                    <a:pt x="5582" y="62244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598B21-E4E9-4467-8BCB-AF84E4DF3938}"/>
                </a:ext>
              </a:extLst>
            </p:cNvPr>
            <p:cNvSpPr/>
            <p:nvPr/>
          </p:nvSpPr>
          <p:spPr>
            <a:xfrm>
              <a:off x="2560235" y="867423"/>
              <a:ext cx="81503" cy="145422"/>
            </a:xfrm>
            <a:custGeom>
              <a:avLst/>
              <a:gdLst>
                <a:gd name="connsiteX0" fmla="*/ 0 w 81503"/>
                <a:gd name="connsiteY0" fmla="*/ 2233 h 145422"/>
                <a:gd name="connsiteX1" fmla="*/ 32657 w 81503"/>
                <a:gd name="connsiteY1" fmla="*/ 2233 h 145422"/>
                <a:gd name="connsiteX2" fmla="*/ 32657 w 81503"/>
                <a:gd name="connsiteY2" fmla="*/ 16189 h 145422"/>
                <a:gd name="connsiteX3" fmla="*/ 70897 w 81503"/>
                <a:gd name="connsiteY3" fmla="*/ 0 h 145422"/>
                <a:gd name="connsiteX4" fmla="*/ 81504 w 81503"/>
                <a:gd name="connsiteY4" fmla="*/ 837 h 145422"/>
                <a:gd name="connsiteX5" fmla="*/ 81504 w 81503"/>
                <a:gd name="connsiteY5" fmla="*/ 33774 h 145422"/>
                <a:gd name="connsiteX6" fmla="*/ 65314 w 81503"/>
                <a:gd name="connsiteY6" fmla="*/ 31820 h 145422"/>
                <a:gd name="connsiteX7" fmla="*/ 32657 w 81503"/>
                <a:gd name="connsiteY7" fmla="*/ 49125 h 145422"/>
                <a:gd name="connsiteX8" fmla="*/ 32657 w 81503"/>
                <a:gd name="connsiteY8" fmla="*/ 145422 h 145422"/>
                <a:gd name="connsiteX9" fmla="*/ 0 w 81503"/>
                <a:gd name="connsiteY9" fmla="*/ 145422 h 145422"/>
                <a:gd name="connsiteX10" fmla="*/ 0 w 81503"/>
                <a:gd name="connsiteY10" fmla="*/ 2233 h 14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503" h="145422">
                  <a:moveTo>
                    <a:pt x="0" y="2233"/>
                  </a:moveTo>
                  <a:lnTo>
                    <a:pt x="32657" y="2233"/>
                  </a:lnTo>
                  <a:lnTo>
                    <a:pt x="32657" y="16189"/>
                  </a:lnTo>
                  <a:cubicBezTo>
                    <a:pt x="42147" y="5303"/>
                    <a:pt x="54708" y="0"/>
                    <a:pt x="70897" y="0"/>
                  </a:cubicBezTo>
                  <a:cubicBezTo>
                    <a:pt x="74805" y="0"/>
                    <a:pt x="78433" y="279"/>
                    <a:pt x="81504" y="837"/>
                  </a:cubicBezTo>
                  <a:lnTo>
                    <a:pt x="81504" y="33774"/>
                  </a:lnTo>
                  <a:cubicBezTo>
                    <a:pt x="77038" y="32378"/>
                    <a:pt x="71455" y="31820"/>
                    <a:pt x="65314" y="31820"/>
                  </a:cubicBezTo>
                  <a:cubicBezTo>
                    <a:pt x="51358" y="31820"/>
                    <a:pt x="39356" y="36844"/>
                    <a:pt x="32657" y="49125"/>
                  </a:cubicBezTo>
                  <a:lnTo>
                    <a:pt x="32657" y="145422"/>
                  </a:lnTo>
                  <a:lnTo>
                    <a:pt x="0" y="145422"/>
                  </a:lnTo>
                  <a:lnTo>
                    <a:pt x="0" y="2233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36CE729-FDFD-4153-B03C-102B988B8DF3}"/>
                </a:ext>
              </a:extLst>
            </p:cNvPr>
            <p:cNvSpPr/>
            <p:nvPr/>
          </p:nvSpPr>
          <p:spPr>
            <a:xfrm>
              <a:off x="2636156" y="965952"/>
              <a:ext cx="51079" cy="49404"/>
            </a:xfrm>
            <a:custGeom>
              <a:avLst/>
              <a:gdLst>
                <a:gd name="connsiteX0" fmla="*/ 0 w 51079"/>
                <a:gd name="connsiteY0" fmla="*/ 24563 h 49404"/>
                <a:gd name="connsiteX1" fmla="*/ 25679 w 51079"/>
                <a:gd name="connsiteY1" fmla="*/ 0 h 49404"/>
                <a:gd name="connsiteX2" fmla="*/ 51079 w 51079"/>
                <a:gd name="connsiteY2" fmla="*/ 24563 h 49404"/>
                <a:gd name="connsiteX3" fmla="*/ 25679 w 51079"/>
                <a:gd name="connsiteY3" fmla="*/ 49405 h 49404"/>
                <a:gd name="connsiteX4" fmla="*/ 0 w 51079"/>
                <a:gd name="connsiteY4" fmla="*/ 24563 h 4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79" h="49404">
                  <a:moveTo>
                    <a:pt x="0" y="24563"/>
                  </a:moveTo>
                  <a:cubicBezTo>
                    <a:pt x="0" y="11165"/>
                    <a:pt x="11444" y="0"/>
                    <a:pt x="25679" y="0"/>
                  </a:cubicBezTo>
                  <a:cubicBezTo>
                    <a:pt x="39914" y="0"/>
                    <a:pt x="51079" y="11165"/>
                    <a:pt x="51079" y="24563"/>
                  </a:cubicBezTo>
                  <a:cubicBezTo>
                    <a:pt x="51079" y="38240"/>
                    <a:pt x="39914" y="49405"/>
                    <a:pt x="25679" y="49405"/>
                  </a:cubicBezTo>
                  <a:cubicBezTo>
                    <a:pt x="11444" y="49405"/>
                    <a:pt x="0" y="38240"/>
                    <a:pt x="0" y="24563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D33E801-5011-42CB-9DA1-392BCF192E5B}"/>
                </a:ext>
              </a:extLst>
            </p:cNvPr>
            <p:cNvSpPr/>
            <p:nvPr/>
          </p:nvSpPr>
          <p:spPr>
            <a:xfrm>
              <a:off x="2702866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3 w 148213"/>
                <a:gd name="connsiteY6" fmla="*/ 2233 h 147934"/>
                <a:gd name="connsiteX7" fmla="*/ 148213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5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3" y="2233"/>
                  </a:lnTo>
                  <a:lnTo>
                    <a:pt x="148213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5" y="48846"/>
                    <a:pt x="33215" y="73688"/>
                  </a:cubicBezTo>
                  <a:cubicBezTo>
                    <a:pt x="33215" y="98530"/>
                    <a:pt x="51079" y="117510"/>
                    <a:pt x="76200" y="117510"/>
                  </a:cubicBezTo>
                  <a:cubicBezTo>
                    <a:pt x="92389" y="117789"/>
                    <a:pt x="107462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70BFA5D-26A9-4EC3-A96D-F0951DDE3FBA}"/>
                </a:ext>
              </a:extLst>
            </p:cNvPr>
            <p:cNvSpPr/>
            <p:nvPr/>
          </p:nvSpPr>
          <p:spPr>
            <a:xfrm>
              <a:off x="2878155" y="807411"/>
              <a:ext cx="42984" cy="205433"/>
            </a:xfrm>
            <a:custGeom>
              <a:avLst/>
              <a:gdLst>
                <a:gd name="connsiteX0" fmla="*/ 0 w 42984"/>
                <a:gd name="connsiteY0" fmla="*/ 20934 h 205433"/>
                <a:gd name="connsiteX1" fmla="*/ 21492 w 42984"/>
                <a:gd name="connsiteY1" fmla="*/ 0 h 205433"/>
                <a:gd name="connsiteX2" fmla="*/ 42985 w 42984"/>
                <a:gd name="connsiteY2" fmla="*/ 20934 h 205433"/>
                <a:gd name="connsiteX3" fmla="*/ 37681 w 42984"/>
                <a:gd name="connsiteY3" fmla="*/ 34611 h 205433"/>
                <a:gd name="connsiteX4" fmla="*/ 5303 w 42984"/>
                <a:gd name="connsiteY4" fmla="*/ 34611 h 205433"/>
                <a:gd name="connsiteX5" fmla="*/ 0 w 42984"/>
                <a:gd name="connsiteY5" fmla="*/ 20934 h 205433"/>
                <a:gd name="connsiteX6" fmla="*/ 5303 w 42984"/>
                <a:gd name="connsiteY6" fmla="*/ 62244 h 205433"/>
                <a:gd name="connsiteX7" fmla="*/ 37960 w 42984"/>
                <a:gd name="connsiteY7" fmla="*/ 62244 h 205433"/>
                <a:gd name="connsiteX8" fmla="*/ 37960 w 42984"/>
                <a:gd name="connsiteY8" fmla="*/ 205433 h 205433"/>
                <a:gd name="connsiteX9" fmla="*/ 5303 w 42984"/>
                <a:gd name="connsiteY9" fmla="*/ 205433 h 205433"/>
                <a:gd name="connsiteX10" fmla="*/ 5303 w 42984"/>
                <a:gd name="connsiteY10" fmla="*/ 62244 h 20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984" h="205433">
                  <a:moveTo>
                    <a:pt x="0" y="20934"/>
                  </a:moveTo>
                  <a:cubicBezTo>
                    <a:pt x="0" y="9490"/>
                    <a:pt x="9769" y="0"/>
                    <a:pt x="21492" y="0"/>
                  </a:cubicBezTo>
                  <a:cubicBezTo>
                    <a:pt x="33216" y="0"/>
                    <a:pt x="42985" y="9490"/>
                    <a:pt x="42985" y="20934"/>
                  </a:cubicBezTo>
                  <a:cubicBezTo>
                    <a:pt x="42985" y="25679"/>
                    <a:pt x="41310" y="30703"/>
                    <a:pt x="37681" y="34611"/>
                  </a:cubicBezTo>
                  <a:lnTo>
                    <a:pt x="5303" y="34611"/>
                  </a:lnTo>
                  <a:cubicBezTo>
                    <a:pt x="1954" y="30982"/>
                    <a:pt x="0" y="26237"/>
                    <a:pt x="0" y="20934"/>
                  </a:cubicBezTo>
                  <a:moveTo>
                    <a:pt x="5303" y="62244"/>
                  </a:moveTo>
                  <a:lnTo>
                    <a:pt x="37960" y="62244"/>
                  </a:lnTo>
                  <a:lnTo>
                    <a:pt x="37960" y="205433"/>
                  </a:lnTo>
                  <a:lnTo>
                    <a:pt x="5303" y="205433"/>
                  </a:lnTo>
                  <a:lnTo>
                    <a:pt x="5303" y="62244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DAF82A8-797C-4075-B0C7-026744FB84B6}"/>
                </a:ext>
              </a:extLst>
            </p:cNvPr>
            <p:cNvSpPr/>
            <p:nvPr/>
          </p:nvSpPr>
          <p:spPr>
            <a:xfrm>
              <a:off x="1499574" y="1127006"/>
              <a:ext cx="81503" cy="85969"/>
            </a:xfrm>
            <a:custGeom>
              <a:avLst/>
              <a:gdLst>
                <a:gd name="connsiteX0" fmla="*/ 40752 w 81503"/>
                <a:gd name="connsiteY0" fmla="*/ 72572 h 85969"/>
                <a:gd name="connsiteX1" fmla="*/ 63919 w 81503"/>
                <a:gd name="connsiteY1" fmla="*/ 42426 h 85969"/>
                <a:gd name="connsiteX2" fmla="*/ 40752 w 81503"/>
                <a:gd name="connsiteY2" fmla="*/ 12840 h 85969"/>
                <a:gd name="connsiteX3" fmla="*/ 17585 w 81503"/>
                <a:gd name="connsiteY3" fmla="*/ 42426 h 85969"/>
                <a:gd name="connsiteX4" fmla="*/ 40752 w 81503"/>
                <a:gd name="connsiteY4" fmla="*/ 72572 h 85969"/>
                <a:gd name="connsiteX5" fmla="*/ 40752 w 81503"/>
                <a:gd name="connsiteY5" fmla="*/ 0 h 85969"/>
                <a:gd name="connsiteX6" fmla="*/ 81503 w 81503"/>
                <a:gd name="connsiteY6" fmla="*/ 42706 h 85969"/>
                <a:gd name="connsiteX7" fmla="*/ 40752 w 81503"/>
                <a:gd name="connsiteY7" fmla="*/ 85969 h 85969"/>
                <a:gd name="connsiteX8" fmla="*/ 0 w 81503"/>
                <a:gd name="connsiteY8" fmla="*/ 42706 h 85969"/>
                <a:gd name="connsiteX9" fmla="*/ 40752 w 81503"/>
                <a:gd name="connsiteY9" fmla="*/ 0 h 8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03" h="85969">
                  <a:moveTo>
                    <a:pt x="40752" y="72572"/>
                  </a:moveTo>
                  <a:cubicBezTo>
                    <a:pt x="57778" y="72572"/>
                    <a:pt x="63919" y="57499"/>
                    <a:pt x="63919" y="42426"/>
                  </a:cubicBezTo>
                  <a:cubicBezTo>
                    <a:pt x="63919" y="27912"/>
                    <a:pt x="57220" y="12840"/>
                    <a:pt x="40752" y="12840"/>
                  </a:cubicBezTo>
                  <a:cubicBezTo>
                    <a:pt x="24284" y="12840"/>
                    <a:pt x="17585" y="27912"/>
                    <a:pt x="17585" y="42426"/>
                  </a:cubicBezTo>
                  <a:cubicBezTo>
                    <a:pt x="17305" y="57499"/>
                    <a:pt x="23725" y="72572"/>
                    <a:pt x="40752" y="72572"/>
                  </a:cubicBezTo>
                  <a:moveTo>
                    <a:pt x="40752" y="0"/>
                  </a:moveTo>
                  <a:cubicBezTo>
                    <a:pt x="66710" y="0"/>
                    <a:pt x="81503" y="17585"/>
                    <a:pt x="81503" y="42706"/>
                  </a:cubicBezTo>
                  <a:cubicBezTo>
                    <a:pt x="81503" y="67827"/>
                    <a:pt x="66989" y="85969"/>
                    <a:pt x="40752" y="85969"/>
                  </a:cubicBezTo>
                  <a:cubicBezTo>
                    <a:pt x="14235" y="85969"/>
                    <a:pt x="0" y="68385"/>
                    <a:pt x="0" y="42706"/>
                  </a:cubicBezTo>
                  <a:cubicBezTo>
                    <a:pt x="0" y="17026"/>
                    <a:pt x="14235" y="0"/>
                    <a:pt x="40752" y="0"/>
                  </a:cubicBez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0EEDFED-6DCD-4B50-8540-74AB49A9E430}"/>
                </a:ext>
              </a:extLst>
            </p:cNvPr>
            <p:cNvSpPr/>
            <p:nvPr/>
          </p:nvSpPr>
          <p:spPr>
            <a:xfrm>
              <a:off x="1591126" y="1127006"/>
              <a:ext cx="54707" cy="84573"/>
            </a:xfrm>
            <a:custGeom>
              <a:avLst/>
              <a:gdLst>
                <a:gd name="connsiteX0" fmla="*/ 0 w 54707"/>
                <a:gd name="connsiteY0" fmla="*/ 84295 h 84573"/>
                <a:gd name="connsiteX1" fmla="*/ 0 w 54707"/>
                <a:gd name="connsiteY1" fmla="*/ 70339 h 84573"/>
                <a:gd name="connsiteX2" fmla="*/ 36007 w 54707"/>
                <a:gd name="connsiteY2" fmla="*/ 24004 h 84573"/>
                <a:gd name="connsiteX3" fmla="*/ 22330 w 54707"/>
                <a:gd name="connsiteY3" fmla="*/ 12840 h 84573"/>
                <a:gd name="connsiteX4" fmla="*/ 3070 w 54707"/>
                <a:gd name="connsiteY4" fmla="*/ 19539 h 84573"/>
                <a:gd name="connsiteX5" fmla="*/ 1675 w 54707"/>
                <a:gd name="connsiteY5" fmla="*/ 5862 h 84573"/>
                <a:gd name="connsiteX6" fmla="*/ 26237 w 54707"/>
                <a:gd name="connsiteY6" fmla="*/ 0 h 84573"/>
                <a:gd name="connsiteX7" fmla="*/ 52196 w 54707"/>
                <a:gd name="connsiteY7" fmla="*/ 24284 h 84573"/>
                <a:gd name="connsiteX8" fmla="*/ 20934 w 54707"/>
                <a:gd name="connsiteY8" fmla="*/ 71455 h 84573"/>
                <a:gd name="connsiteX9" fmla="*/ 54708 w 54707"/>
                <a:gd name="connsiteY9" fmla="*/ 71455 h 84573"/>
                <a:gd name="connsiteX10" fmla="*/ 54708 w 54707"/>
                <a:gd name="connsiteY10" fmla="*/ 84574 h 84573"/>
                <a:gd name="connsiteX11" fmla="*/ 0 w 54707"/>
                <a:gd name="connsiteY11" fmla="*/ 84574 h 84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707" h="84573">
                  <a:moveTo>
                    <a:pt x="0" y="84295"/>
                  </a:moveTo>
                  <a:lnTo>
                    <a:pt x="0" y="70339"/>
                  </a:lnTo>
                  <a:cubicBezTo>
                    <a:pt x="7815" y="62802"/>
                    <a:pt x="36007" y="39356"/>
                    <a:pt x="36007" y="24004"/>
                  </a:cubicBezTo>
                  <a:cubicBezTo>
                    <a:pt x="36007" y="16468"/>
                    <a:pt x="29308" y="12840"/>
                    <a:pt x="22330" y="12840"/>
                  </a:cubicBezTo>
                  <a:cubicBezTo>
                    <a:pt x="15352" y="12840"/>
                    <a:pt x="8653" y="15910"/>
                    <a:pt x="3070" y="19539"/>
                  </a:cubicBezTo>
                  <a:lnTo>
                    <a:pt x="1675" y="5862"/>
                  </a:lnTo>
                  <a:cubicBezTo>
                    <a:pt x="9211" y="1954"/>
                    <a:pt x="17864" y="0"/>
                    <a:pt x="26237" y="0"/>
                  </a:cubicBezTo>
                  <a:cubicBezTo>
                    <a:pt x="42147" y="0"/>
                    <a:pt x="52196" y="8095"/>
                    <a:pt x="52196" y="24284"/>
                  </a:cubicBezTo>
                  <a:cubicBezTo>
                    <a:pt x="52196" y="41868"/>
                    <a:pt x="34611" y="58057"/>
                    <a:pt x="20934" y="71455"/>
                  </a:cubicBezTo>
                  <a:lnTo>
                    <a:pt x="54708" y="71455"/>
                  </a:lnTo>
                  <a:lnTo>
                    <a:pt x="54708" y="84574"/>
                  </a:lnTo>
                  <a:lnTo>
                    <a:pt x="0" y="84574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470D642-DEB1-41CD-AB6F-C9105C9337AC}"/>
                </a:ext>
              </a:extLst>
            </p:cNvPr>
            <p:cNvSpPr/>
            <p:nvPr/>
          </p:nvSpPr>
          <p:spPr>
            <a:xfrm>
              <a:off x="1691051" y="1126726"/>
              <a:ext cx="64476" cy="85969"/>
            </a:xfrm>
            <a:custGeom>
              <a:avLst/>
              <a:gdLst>
                <a:gd name="connsiteX0" fmla="*/ 64477 w 64476"/>
                <a:gd name="connsiteY0" fmla="*/ 83457 h 85969"/>
                <a:gd name="connsiteX1" fmla="*/ 45497 w 64476"/>
                <a:gd name="connsiteY1" fmla="*/ 85969 h 85969"/>
                <a:gd name="connsiteX2" fmla="*/ 0 w 64476"/>
                <a:gd name="connsiteY2" fmla="*/ 44380 h 85969"/>
                <a:gd name="connsiteX3" fmla="*/ 45497 w 64476"/>
                <a:gd name="connsiteY3" fmla="*/ 0 h 85969"/>
                <a:gd name="connsiteX4" fmla="*/ 64198 w 64476"/>
                <a:gd name="connsiteY4" fmla="*/ 3349 h 85969"/>
                <a:gd name="connsiteX5" fmla="*/ 63081 w 64476"/>
                <a:gd name="connsiteY5" fmla="*/ 17306 h 85969"/>
                <a:gd name="connsiteX6" fmla="*/ 45218 w 64476"/>
                <a:gd name="connsiteY6" fmla="*/ 12840 h 85969"/>
                <a:gd name="connsiteX7" fmla="*/ 17305 w 64476"/>
                <a:gd name="connsiteY7" fmla="*/ 42985 h 85969"/>
                <a:gd name="connsiteX8" fmla="*/ 45497 w 64476"/>
                <a:gd name="connsiteY8" fmla="*/ 72572 h 85969"/>
                <a:gd name="connsiteX9" fmla="*/ 63640 w 64476"/>
                <a:gd name="connsiteY9" fmla="*/ 69222 h 85969"/>
                <a:gd name="connsiteX10" fmla="*/ 64477 w 64476"/>
                <a:gd name="connsiteY10" fmla="*/ 83457 h 8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4476" h="85969">
                  <a:moveTo>
                    <a:pt x="64477" y="83457"/>
                  </a:moveTo>
                  <a:cubicBezTo>
                    <a:pt x="58336" y="84853"/>
                    <a:pt x="51917" y="85969"/>
                    <a:pt x="45497" y="85969"/>
                  </a:cubicBezTo>
                  <a:cubicBezTo>
                    <a:pt x="18701" y="85969"/>
                    <a:pt x="0" y="72572"/>
                    <a:pt x="0" y="44380"/>
                  </a:cubicBezTo>
                  <a:cubicBezTo>
                    <a:pt x="0" y="15910"/>
                    <a:pt x="17305" y="0"/>
                    <a:pt x="45497" y="0"/>
                  </a:cubicBezTo>
                  <a:cubicBezTo>
                    <a:pt x="51079" y="0"/>
                    <a:pt x="58336" y="1116"/>
                    <a:pt x="64198" y="3349"/>
                  </a:cubicBezTo>
                  <a:lnTo>
                    <a:pt x="63081" y="17306"/>
                  </a:lnTo>
                  <a:cubicBezTo>
                    <a:pt x="56662" y="13677"/>
                    <a:pt x="51079" y="12840"/>
                    <a:pt x="45218" y="12840"/>
                  </a:cubicBezTo>
                  <a:cubicBezTo>
                    <a:pt x="28191" y="12840"/>
                    <a:pt x="17305" y="25958"/>
                    <a:pt x="17305" y="42985"/>
                  </a:cubicBezTo>
                  <a:cubicBezTo>
                    <a:pt x="17305" y="59732"/>
                    <a:pt x="27633" y="72572"/>
                    <a:pt x="45497" y="72572"/>
                  </a:cubicBezTo>
                  <a:cubicBezTo>
                    <a:pt x="51917" y="72572"/>
                    <a:pt x="59732" y="71176"/>
                    <a:pt x="63640" y="69222"/>
                  </a:cubicBezTo>
                  <a:lnTo>
                    <a:pt x="64477" y="83457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11742D0-ECB9-4539-AA1F-D3784B443285}"/>
                </a:ext>
              </a:extLst>
            </p:cNvPr>
            <p:cNvSpPr/>
            <p:nvPr/>
          </p:nvSpPr>
          <p:spPr>
            <a:xfrm>
              <a:off x="1762227" y="1150173"/>
              <a:ext cx="51079" cy="61127"/>
            </a:xfrm>
            <a:custGeom>
              <a:avLst/>
              <a:gdLst>
                <a:gd name="connsiteX0" fmla="*/ 1396 w 51079"/>
                <a:gd name="connsiteY0" fmla="*/ 0 h 61127"/>
                <a:gd name="connsiteX1" fmla="*/ 49963 w 51079"/>
                <a:gd name="connsiteY1" fmla="*/ 0 h 61127"/>
                <a:gd name="connsiteX2" fmla="*/ 49963 w 51079"/>
                <a:gd name="connsiteY2" fmla="*/ 12840 h 61127"/>
                <a:gd name="connsiteX3" fmla="*/ 19539 w 51079"/>
                <a:gd name="connsiteY3" fmla="*/ 48846 h 61127"/>
                <a:gd name="connsiteX4" fmla="*/ 51079 w 51079"/>
                <a:gd name="connsiteY4" fmla="*/ 48846 h 61127"/>
                <a:gd name="connsiteX5" fmla="*/ 51079 w 51079"/>
                <a:gd name="connsiteY5" fmla="*/ 61128 h 61127"/>
                <a:gd name="connsiteX6" fmla="*/ 0 w 51079"/>
                <a:gd name="connsiteY6" fmla="*/ 61128 h 61127"/>
                <a:gd name="connsiteX7" fmla="*/ 0 w 51079"/>
                <a:gd name="connsiteY7" fmla="*/ 48288 h 61127"/>
                <a:gd name="connsiteX8" fmla="*/ 30982 w 51079"/>
                <a:gd name="connsiteY8" fmla="*/ 12281 h 61127"/>
                <a:gd name="connsiteX9" fmla="*/ 1396 w 51079"/>
                <a:gd name="connsiteY9" fmla="*/ 12281 h 61127"/>
                <a:gd name="connsiteX10" fmla="*/ 1396 w 51079"/>
                <a:gd name="connsiteY10" fmla="*/ 0 h 6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079" h="61127">
                  <a:moveTo>
                    <a:pt x="1396" y="0"/>
                  </a:moveTo>
                  <a:lnTo>
                    <a:pt x="49963" y="0"/>
                  </a:lnTo>
                  <a:lnTo>
                    <a:pt x="49963" y="12840"/>
                  </a:lnTo>
                  <a:lnTo>
                    <a:pt x="19539" y="48846"/>
                  </a:lnTo>
                  <a:lnTo>
                    <a:pt x="51079" y="48846"/>
                  </a:lnTo>
                  <a:lnTo>
                    <a:pt x="51079" y="61128"/>
                  </a:lnTo>
                  <a:lnTo>
                    <a:pt x="0" y="61128"/>
                  </a:lnTo>
                  <a:lnTo>
                    <a:pt x="0" y="48288"/>
                  </a:lnTo>
                  <a:lnTo>
                    <a:pt x="30982" y="12281"/>
                  </a:lnTo>
                  <a:lnTo>
                    <a:pt x="1396" y="12281"/>
                  </a:lnTo>
                  <a:lnTo>
                    <a:pt x="1396" y="0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2E621ED-8B44-4E3D-8F3C-96C35E2EE76B}"/>
                </a:ext>
              </a:extLst>
            </p:cNvPr>
            <p:cNvSpPr/>
            <p:nvPr/>
          </p:nvSpPr>
          <p:spPr>
            <a:xfrm>
              <a:off x="1821680" y="1148498"/>
              <a:ext cx="57499" cy="64197"/>
            </a:xfrm>
            <a:custGeom>
              <a:avLst/>
              <a:gdLst>
                <a:gd name="connsiteX0" fmla="*/ 42426 w 57499"/>
                <a:gd name="connsiteY0" fmla="*/ 26237 h 64197"/>
                <a:gd name="connsiteX1" fmla="*/ 29587 w 57499"/>
                <a:gd name="connsiteY1" fmla="*/ 12002 h 64197"/>
                <a:gd name="connsiteX2" fmla="*/ 15352 w 57499"/>
                <a:gd name="connsiteY2" fmla="*/ 26237 h 64197"/>
                <a:gd name="connsiteX3" fmla="*/ 42426 w 57499"/>
                <a:gd name="connsiteY3" fmla="*/ 26237 h 64197"/>
                <a:gd name="connsiteX4" fmla="*/ 53033 w 57499"/>
                <a:gd name="connsiteY4" fmla="*/ 59453 h 64197"/>
                <a:gd name="connsiteX5" fmla="*/ 32099 w 57499"/>
                <a:gd name="connsiteY5" fmla="*/ 64198 h 64197"/>
                <a:gd name="connsiteX6" fmla="*/ 0 w 57499"/>
                <a:gd name="connsiteY6" fmla="*/ 32378 h 64197"/>
                <a:gd name="connsiteX7" fmla="*/ 28470 w 57499"/>
                <a:gd name="connsiteY7" fmla="*/ 0 h 64197"/>
                <a:gd name="connsiteX8" fmla="*/ 57499 w 57499"/>
                <a:gd name="connsiteY8" fmla="*/ 36844 h 64197"/>
                <a:gd name="connsiteX9" fmla="*/ 15073 w 57499"/>
                <a:gd name="connsiteY9" fmla="*/ 36844 h 64197"/>
                <a:gd name="connsiteX10" fmla="*/ 32657 w 57499"/>
                <a:gd name="connsiteY10" fmla="*/ 52196 h 64197"/>
                <a:gd name="connsiteX11" fmla="*/ 53033 w 57499"/>
                <a:gd name="connsiteY11" fmla="*/ 46055 h 64197"/>
                <a:gd name="connsiteX12" fmla="*/ 53033 w 57499"/>
                <a:gd name="connsiteY12" fmla="*/ 5945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499" h="64197">
                  <a:moveTo>
                    <a:pt x="42426" y="26237"/>
                  </a:moveTo>
                  <a:cubicBezTo>
                    <a:pt x="41868" y="18422"/>
                    <a:pt x="38240" y="12002"/>
                    <a:pt x="29587" y="12002"/>
                  </a:cubicBezTo>
                  <a:cubicBezTo>
                    <a:pt x="20655" y="12002"/>
                    <a:pt x="16189" y="18143"/>
                    <a:pt x="15352" y="26237"/>
                  </a:cubicBezTo>
                  <a:lnTo>
                    <a:pt x="42426" y="26237"/>
                  </a:lnTo>
                  <a:moveTo>
                    <a:pt x="53033" y="59453"/>
                  </a:moveTo>
                  <a:cubicBezTo>
                    <a:pt x="47172" y="62802"/>
                    <a:pt x="40473" y="64198"/>
                    <a:pt x="32099" y="64198"/>
                  </a:cubicBezTo>
                  <a:cubicBezTo>
                    <a:pt x="12002" y="64198"/>
                    <a:pt x="0" y="52475"/>
                    <a:pt x="0" y="32378"/>
                  </a:cubicBezTo>
                  <a:cubicBezTo>
                    <a:pt x="0" y="14793"/>
                    <a:pt x="9490" y="0"/>
                    <a:pt x="28470" y="0"/>
                  </a:cubicBezTo>
                  <a:cubicBezTo>
                    <a:pt x="51079" y="0"/>
                    <a:pt x="57499" y="15631"/>
                    <a:pt x="57499" y="36844"/>
                  </a:cubicBezTo>
                  <a:lnTo>
                    <a:pt x="15073" y="36844"/>
                  </a:lnTo>
                  <a:cubicBezTo>
                    <a:pt x="15910" y="46613"/>
                    <a:pt x="22609" y="52196"/>
                    <a:pt x="32657" y="52196"/>
                  </a:cubicBezTo>
                  <a:cubicBezTo>
                    <a:pt x="40473" y="52196"/>
                    <a:pt x="47172" y="49405"/>
                    <a:pt x="53033" y="46055"/>
                  </a:cubicBezTo>
                  <a:lnTo>
                    <a:pt x="53033" y="59453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A630F19-3EB0-439B-A96E-2D75265E4230}"/>
                </a:ext>
              </a:extLst>
            </p:cNvPr>
            <p:cNvSpPr/>
            <p:nvPr/>
          </p:nvSpPr>
          <p:spPr>
            <a:xfrm>
              <a:off x="1887832" y="1148498"/>
              <a:ext cx="46055" cy="64197"/>
            </a:xfrm>
            <a:custGeom>
              <a:avLst/>
              <a:gdLst>
                <a:gd name="connsiteX0" fmla="*/ 43543 w 46055"/>
                <a:gd name="connsiteY0" fmla="*/ 14793 h 64197"/>
                <a:gd name="connsiteX1" fmla="*/ 32657 w 46055"/>
                <a:gd name="connsiteY1" fmla="*/ 12560 h 64197"/>
                <a:gd name="connsiteX2" fmla="*/ 16468 w 46055"/>
                <a:gd name="connsiteY2" fmla="*/ 31820 h 64197"/>
                <a:gd name="connsiteX3" fmla="*/ 32936 w 46055"/>
                <a:gd name="connsiteY3" fmla="*/ 51917 h 64197"/>
                <a:gd name="connsiteX4" fmla="*/ 45218 w 46055"/>
                <a:gd name="connsiteY4" fmla="*/ 49125 h 64197"/>
                <a:gd name="connsiteX5" fmla="*/ 46055 w 46055"/>
                <a:gd name="connsiteY5" fmla="*/ 62244 h 64197"/>
                <a:gd name="connsiteX6" fmla="*/ 30145 w 46055"/>
                <a:gd name="connsiteY6" fmla="*/ 64198 h 64197"/>
                <a:gd name="connsiteX7" fmla="*/ 0 w 46055"/>
                <a:gd name="connsiteY7" fmla="*/ 31820 h 64197"/>
                <a:gd name="connsiteX8" fmla="*/ 29587 w 46055"/>
                <a:gd name="connsiteY8" fmla="*/ 0 h 64197"/>
                <a:gd name="connsiteX9" fmla="*/ 44938 w 46055"/>
                <a:gd name="connsiteY9" fmla="*/ 1954 h 64197"/>
                <a:gd name="connsiteX10" fmla="*/ 43543 w 46055"/>
                <a:gd name="connsiteY10" fmla="*/ 1479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55" h="64197">
                  <a:moveTo>
                    <a:pt x="43543" y="14793"/>
                  </a:moveTo>
                  <a:cubicBezTo>
                    <a:pt x="40752" y="13398"/>
                    <a:pt x="37681" y="12560"/>
                    <a:pt x="32657" y="12560"/>
                  </a:cubicBezTo>
                  <a:cubicBezTo>
                    <a:pt x="22888" y="12560"/>
                    <a:pt x="16468" y="20376"/>
                    <a:pt x="16468" y="31820"/>
                  </a:cubicBezTo>
                  <a:cubicBezTo>
                    <a:pt x="16468" y="43264"/>
                    <a:pt x="21771" y="51917"/>
                    <a:pt x="32936" y="51917"/>
                  </a:cubicBezTo>
                  <a:cubicBezTo>
                    <a:pt x="37402" y="51917"/>
                    <a:pt x="42426" y="50242"/>
                    <a:pt x="45218" y="49125"/>
                  </a:cubicBezTo>
                  <a:lnTo>
                    <a:pt x="46055" y="62244"/>
                  </a:lnTo>
                  <a:cubicBezTo>
                    <a:pt x="41310" y="63640"/>
                    <a:pt x="36565" y="64198"/>
                    <a:pt x="30145" y="64198"/>
                  </a:cubicBezTo>
                  <a:cubicBezTo>
                    <a:pt x="10048" y="64198"/>
                    <a:pt x="0" y="50521"/>
                    <a:pt x="0" y="31820"/>
                  </a:cubicBezTo>
                  <a:cubicBezTo>
                    <a:pt x="0" y="14235"/>
                    <a:pt x="10327" y="0"/>
                    <a:pt x="29587" y="0"/>
                  </a:cubicBezTo>
                  <a:cubicBezTo>
                    <a:pt x="36007" y="0"/>
                    <a:pt x="40752" y="837"/>
                    <a:pt x="44938" y="1954"/>
                  </a:cubicBezTo>
                  <a:lnTo>
                    <a:pt x="43543" y="14793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E0BA9B8-3A3E-4C3D-8F45-E28AC9005BE2}"/>
                </a:ext>
              </a:extLst>
            </p:cNvPr>
            <p:cNvSpPr/>
            <p:nvPr/>
          </p:nvSpPr>
          <p:spPr>
            <a:xfrm>
              <a:off x="1944493" y="1122261"/>
              <a:ext cx="56382" cy="89039"/>
            </a:xfrm>
            <a:custGeom>
              <a:avLst/>
              <a:gdLst>
                <a:gd name="connsiteX0" fmla="*/ 0 w 56382"/>
                <a:gd name="connsiteY0" fmla="*/ 0 h 89039"/>
                <a:gd name="connsiteX1" fmla="*/ 15910 w 56382"/>
                <a:gd name="connsiteY1" fmla="*/ 0 h 89039"/>
                <a:gd name="connsiteX2" fmla="*/ 15910 w 56382"/>
                <a:gd name="connsiteY2" fmla="*/ 36286 h 89039"/>
                <a:gd name="connsiteX3" fmla="*/ 16189 w 56382"/>
                <a:gd name="connsiteY3" fmla="*/ 36286 h 89039"/>
                <a:gd name="connsiteX4" fmla="*/ 35448 w 56382"/>
                <a:gd name="connsiteY4" fmla="*/ 26517 h 89039"/>
                <a:gd name="connsiteX5" fmla="*/ 56383 w 56382"/>
                <a:gd name="connsiteY5" fmla="*/ 50521 h 89039"/>
                <a:gd name="connsiteX6" fmla="*/ 56383 w 56382"/>
                <a:gd name="connsiteY6" fmla="*/ 89040 h 89039"/>
                <a:gd name="connsiteX7" fmla="*/ 40473 w 56382"/>
                <a:gd name="connsiteY7" fmla="*/ 89040 h 89039"/>
                <a:gd name="connsiteX8" fmla="*/ 40473 w 56382"/>
                <a:gd name="connsiteY8" fmla="*/ 56383 h 89039"/>
                <a:gd name="connsiteX9" fmla="*/ 30145 w 56382"/>
                <a:gd name="connsiteY9" fmla="*/ 38798 h 89039"/>
                <a:gd name="connsiteX10" fmla="*/ 16189 w 56382"/>
                <a:gd name="connsiteY10" fmla="*/ 59174 h 89039"/>
                <a:gd name="connsiteX11" fmla="*/ 16189 w 56382"/>
                <a:gd name="connsiteY11" fmla="*/ 89040 h 89039"/>
                <a:gd name="connsiteX12" fmla="*/ 0 w 56382"/>
                <a:gd name="connsiteY12" fmla="*/ 89040 h 89039"/>
                <a:gd name="connsiteX13" fmla="*/ 0 w 56382"/>
                <a:gd name="connsiteY13" fmla="*/ 0 h 8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382" h="89039">
                  <a:moveTo>
                    <a:pt x="0" y="0"/>
                  </a:moveTo>
                  <a:lnTo>
                    <a:pt x="15910" y="0"/>
                  </a:lnTo>
                  <a:lnTo>
                    <a:pt x="15910" y="36286"/>
                  </a:lnTo>
                  <a:lnTo>
                    <a:pt x="16189" y="36286"/>
                  </a:lnTo>
                  <a:cubicBezTo>
                    <a:pt x="20097" y="30424"/>
                    <a:pt x="27075" y="26517"/>
                    <a:pt x="35448" y="26517"/>
                  </a:cubicBezTo>
                  <a:cubicBezTo>
                    <a:pt x="49963" y="26517"/>
                    <a:pt x="56383" y="36844"/>
                    <a:pt x="56383" y="50521"/>
                  </a:cubicBezTo>
                  <a:lnTo>
                    <a:pt x="56383" y="89040"/>
                  </a:lnTo>
                  <a:lnTo>
                    <a:pt x="40473" y="89040"/>
                  </a:lnTo>
                  <a:lnTo>
                    <a:pt x="40473" y="56383"/>
                  </a:lnTo>
                  <a:cubicBezTo>
                    <a:pt x="40473" y="48846"/>
                    <a:pt x="40473" y="38798"/>
                    <a:pt x="30145" y="38798"/>
                  </a:cubicBezTo>
                  <a:cubicBezTo>
                    <a:pt x="18701" y="38798"/>
                    <a:pt x="16189" y="51358"/>
                    <a:pt x="16189" y="59174"/>
                  </a:cubicBezTo>
                  <a:lnTo>
                    <a:pt x="16189" y="89040"/>
                  </a:lnTo>
                  <a:lnTo>
                    <a:pt x="0" y="8904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B1E3C52-B7C8-4A1D-A056-E4C1AA13022C}"/>
                </a:ext>
              </a:extLst>
            </p:cNvPr>
            <p:cNvSpPr/>
            <p:nvPr/>
          </p:nvSpPr>
          <p:spPr>
            <a:xfrm>
              <a:off x="2050001" y="1128400"/>
              <a:ext cx="62244" cy="82900"/>
            </a:xfrm>
            <a:custGeom>
              <a:avLst/>
              <a:gdLst>
                <a:gd name="connsiteX0" fmla="*/ 16747 w 62244"/>
                <a:gd name="connsiteY0" fmla="*/ 35450 h 82900"/>
                <a:gd name="connsiteX1" fmla="*/ 22330 w 62244"/>
                <a:gd name="connsiteY1" fmla="*/ 35450 h 82900"/>
                <a:gd name="connsiteX2" fmla="*/ 39914 w 62244"/>
                <a:gd name="connsiteY2" fmla="*/ 24006 h 82900"/>
                <a:gd name="connsiteX3" fmla="*/ 22330 w 62244"/>
                <a:gd name="connsiteY3" fmla="*/ 13120 h 82900"/>
                <a:gd name="connsiteX4" fmla="*/ 16747 w 62244"/>
                <a:gd name="connsiteY4" fmla="*/ 13120 h 82900"/>
                <a:gd name="connsiteX5" fmla="*/ 16747 w 62244"/>
                <a:gd name="connsiteY5" fmla="*/ 35450 h 82900"/>
                <a:gd name="connsiteX6" fmla="*/ 0 w 62244"/>
                <a:gd name="connsiteY6" fmla="*/ 1 h 82900"/>
                <a:gd name="connsiteX7" fmla="*/ 17864 w 62244"/>
                <a:gd name="connsiteY7" fmla="*/ 1 h 82900"/>
                <a:gd name="connsiteX8" fmla="*/ 56941 w 62244"/>
                <a:gd name="connsiteY8" fmla="*/ 22331 h 82900"/>
                <a:gd name="connsiteX9" fmla="*/ 39914 w 62244"/>
                <a:gd name="connsiteY9" fmla="*/ 41590 h 82900"/>
                <a:gd name="connsiteX10" fmla="*/ 39914 w 62244"/>
                <a:gd name="connsiteY10" fmla="*/ 41869 h 82900"/>
                <a:gd name="connsiteX11" fmla="*/ 48846 w 62244"/>
                <a:gd name="connsiteY11" fmla="*/ 50522 h 82900"/>
                <a:gd name="connsiteX12" fmla="*/ 62244 w 62244"/>
                <a:gd name="connsiteY12" fmla="*/ 82900 h 82900"/>
                <a:gd name="connsiteX13" fmla="*/ 43822 w 62244"/>
                <a:gd name="connsiteY13" fmla="*/ 82900 h 82900"/>
                <a:gd name="connsiteX14" fmla="*/ 33774 w 62244"/>
                <a:gd name="connsiteY14" fmla="*/ 56942 h 82900"/>
                <a:gd name="connsiteX15" fmla="*/ 22330 w 62244"/>
                <a:gd name="connsiteY15" fmla="*/ 48289 h 82900"/>
                <a:gd name="connsiteX16" fmla="*/ 17027 w 62244"/>
                <a:gd name="connsiteY16" fmla="*/ 48289 h 82900"/>
                <a:gd name="connsiteX17" fmla="*/ 17027 w 62244"/>
                <a:gd name="connsiteY17" fmla="*/ 82900 h 82900"/>
                <a:gd name="connsiteX18" fmla="*/ 279 w 62244"/>
                <a:gd name="connsiteY18" fmla="*/ 82900 h 82900"/>
                <a:gd name="connsiteX19" fmla="*/ 279 w 62244"/>
                <a:gd name="connsiteY19" fmla="*/ 1 h 8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2244" h="82900">
                  <a:moveTo>
                    <a:pt x="16747" y="35450"/>
                  </a:moveTo>
                  <a:lnTo>
                    <a:pt x="22330" y="35450"/>
                  </a:lnTo>
                  <a:cubicBezTo>
                    <a:pt x="30424" y="35450"/>
                    <a:pt x="39914" y="34333"/>
                    <a:pt x="39914" y="24006"/>
                  </a:cubicBezTo>
                  <a:cubicBezTo>
                    <a:pt x="39914" y="13957"/>
                    <a:pt x="30703" y="13120"/>
                    <a:pt x="22330" y="13120"/>
                  </a:cubicBezTo>
                  <a:lnTo>
                    <a:pt x="16747" y="13120"/>
                  </a:lnTo>
                  <a:lnTo>
                    <a:pt x="16747" y="35450"/>
                  </a:lnTo>
                  <a:moveTo>
                    <a:pt x="0" y="1"/>
                  </a:moveTo>
                  <a:lnTo>
                    <a:pt x="17864" y="1"/>
                  </a:lnTo>
                  <a:cubicBezTo>
                    <a:pt x="35728" y="1"/>
                    <a:pt x="56941" y="-557"/>
                    <a:pt x="56941" y="22331"/>
                  </a:cubicBezTo>
                  <a:cubicBezTo>
                    <a:pt x="56941" y="32100"/>
                    <a:pt x="50521" y="40195"/>
                    <a:pt x="39914" y="41590"/>
                  </a:cubicBezTo>
                  <a:lnTo>
                    <a:pt x="39914" y="41869"/>
                  </a:lnTo>
                  <a:cubicBezTo>
                    <a:pt x="44380" y="42149"/>
                    <a:pt x="47172" y="46615"/>
                    <a:pt x="48846" y="50522"/>
                  </a:cubicBezTo>
                  <a:lnTo>
                    <a:pt x="62244" y="82900"/>
                  </a:lnTo>
                  <a:lnTo>
                    <a:pt x="43822" y="82900"/>
                  </a:lnTo>
                  <a:lnTo>
                    <a:pt x="33774" y="56942"/>
                  </a:lnTo>
                  <a:cubicBezTo>
                    <a:pt x="31262" y="50801"/>
                    <a:pt x="29308" y="48289"/>
                    <a:pt x="22330" y="48289"/>
                  </a:cubicBezTo>
                  <a:lnTo>
                    <a:pt x="17027" y="48289"/>
                  </a:lnTo>
                  <a:lnTo>
                    <a:pt x="17027" y="82900"/>
                  </a:lnTo>
                  <a:lnTo>
                    <a:pt x="279" y="8290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D3ED5F8-3901-40CD-B218-F4B59338639F}"/>
                </a:ext>
              </a:extLst>
            </p:cNvPr>
            <p:cNvSpPr/>
            <p:nvPr/>
          </p:nvSpPr>
          <p:spPr>
            <a:xfrm>
              <a:off x="2118665" y="1148498"/>
              <a:ext cx="57498" cy="64197"/>
            </a:xfrm>
            <a:custGeom>
              <a:avLst/>
              <a:gdLst>
                <a:gd name="connsiteX0" fmla="*/ 42147 w 57498"/>
                <a:gd name="connsiteY0" fmla="*/ 26237 h 64197"/>
                <a:gd name="connsiteX1" fmla="*/ 29308 w 57498"/>
                <a:gd name="connsiteY1" fmla="*/ 12002 h 64197"/>
                <a:gd name="connsiteX2" fmla="*/ 15072 w 57498"/>
                <a:gd name="connsiteY2" fmla="*/ 26237 h 64197"/>
                <a:gd name="connsiteX3" fmla="*/ 42147 w 57498"/>
                <a:gd name="connsiteY3" fmla="*/ 26237 h 64197"/>
                <a:gd name="connsiteX4" fmla="*/ 53033 w 57498"/>
                <a:gd name="connsiteY4" fmla="*/ 59453 h 64197"/>
                <a:gd name="connsiteX5" fmla="*/ 32099 w 57498"/>
                <a:gd name="connsiteY5" fmla="*/ 64198 h 64197"/>
                <a:gd name="connsiteX6" fmla="*/ 0 w 57498"/>
                <a:gd name="connsiteY6" fmla="*/ 32378 h 64197"/>
                <a:gd name="connsiteX7" fmla="*/ 28470 w 57498"/>
                <a:gd name="connsiteY7" fmla="*/ 0 h 64197"/>
                <a:gd name="connsiteX8" fmla="*/ 57499 w 57498"/>
                <a:gd name="connsiteY8" fmla="*/ 36844 h 64197"/>
                <a:gd name="connsiteX9" fmla="*/ 15072 w 57498"/>
                <a:gd name="connsiteY9" fmla="*/ 36844 h 64197"/>
                <a:gd name="connsiteX10" fmla="*/ 32657 w 57498"/>
                <a:gd name="connsiteY10" fmla="*/ 52196 h 64197"/>
                <a:gd name="connsiteX11" fmla="*/ 53033 w 57498"/>
                <a:gd name="connsiteY11" fmla="*/ 46055 h 64197"/>
                <a:gd name="connsiteX12" fmla="*/ 53033 w 57498"/>
                <a:gd name="connsiteY12" fmla="*/ 5945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498" h="64197">
                  <a:moveTo>
                    <a:pt x="42147" y="26237"/>
                  </a:moveTo>
                  <a:cubicBezTo>
                    <a:pt x="41589" y="18422"/>
                    <a:pt x="37960" y="12002"/>
                    <a:pt x="29308" y="12002"/>
                  </a:cubicBezTo>
                  <a:cubicBezTo>
                    <a:pt x="20376" y="12002"/>
                    <a:pt x="15910" y="18143"/>
                    <a:pt x="15072" y="26237"/>
                  </a:cubicBezTo>
                  <a:lnTo>
                    <a:pt x="42147" y="26237"/>
                  </a:lnTo>
                  <a:moveTo>
                    <a:pt x="53033" y="59453"/>
                  </a:moveTo>
                  <a:cubicBezTo>
                    <a:pt x="47171" y="62802"/>
                    <a:pt x="40473" y="64198"/>
                    <a:pt x="32099" y="64198"/>
                  </a:cubicBezTo>
                  <a:cubicBezTo>
                    <a:pt x="12002" y="64198"/>
                    <a:pt x="0" y="52475"/>
                    <a:pt x="0" y="32378"/>
                  </a:cubicBezTo>
                  <a:cubicBezTo>
                    <a:pt x="0" y="14793"/>
                    <a:pt x="9490" y="0"/>
                    <a:pt x="28470" y="0"/>
                  </a:cubicBezTo>
                  <a:cubicBezTo>
                    <a:pt x="51079" y="0"/>
                    <a:pt x="57499" y="15631"/>
                    <a:pt x="57499" y="36844"/>
                  </a:cubicBezTo>
                  <a:lnTo>
                    <a:pt x="15072" y="36844"/>
                  </a:lnTo>
                  <a:cubicBezTo>
                    <a:pt x="15910" y="46613"/>
                    <a:pt x="22609" y="52196"/>
                    <a:pt x="32657" y="52196"/>
                  </a:cubicBezTo>
                  <a:cubicBezTo>
                    <a:pt x="40473" y="52196"/>
                    <a:pt x="47171" y="49405"/>
                    <a:pt x="53033" y="46055"/>
                  </a:cubicBezTo>
                  <a:lnTo>
                    <a:pt x="53033" y="59453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B3195A43-7BE4-45EF-9AAA-565DCD476176}"/>
                </a:ext>
              </a:extLst>
            </p:cNvPr>
            <p:cNvSpPr/>
            <p:nvPr/>
          </p:nvSpPr>
          <p:spPr>
            <a:xfrm>
              <a:off x="2188725" y="1148777"/>
              <a:ext cx="60290" cy="87644"/>
            </a:xfrm>
            <a:custGeom>
              <a:avLst/>
              <a:gdLst>
                <a:gd name="connsiteX0" fmla="*/ 15910 w 60290"/>
                <a:gd name="connsiteY0" fmla="*/ 31820 h 87644"/>
                <a:gd name="connsiteX1" fmla="*/ 29866 w 60290"/>
                <a:gd name="connsiteY1" fmla="*/ 51637 h 87644"/>
                <a:gd name="connsiteX2" fmla="*/ 43264 w 60290"/>
                <a:gd name="connsiteY2" fmla="*/ 31820 h 87644"/>
                <a:gd name="connsiteX3" fmla="*/ 30145 w 60290"/>
                <a:gd name="connsiteY3" fmla="*/ 12281 h 87644"/>
                <a:gd name="connsiteX4" fmla="*/ 15910 w 60290"/>
                <a:gd name="connsiteY4" fmla="*/ 31820 h 87644"/>
                <a:gd name="connsiteX5" fmla="*/ 0 w 60290"/>
                <a:gd name="connsiteY5" fmla="*/ 1396 h 87644"/>
                <a:gd name="connsiteX6" fmla="*/ 15352 w 60290"/>
                <a:gd name="connsiteY6" fmla="*/ 1396 h 87644"/>
                <a:gd name="connsiteX7" fmla="*/ 15352 w 60290"/>
                <a:gd name="connsiteY7" fmla="*/ 10048 h 87644"/>
                <a:gd name="connsiteX8" fmla="*/ 15631 w 60290"/>
                <a:gd name="connsiteY8" fmla="*/ 10048 h 87644"/>
                <a:gd name="connsiteX9" fmla="*/ 34611 w 60290"/>
                <a:gd name="connsiteY9" fmla="*/ 0 h 87644"/>
                <a:gd name="connsiteX10" fmla="*/ 60290 w 60290"/>
                <a:gd name="connsiteY10" fmla="*/ 31820 h 87644"/>
                <a:gd name="connsiteX11" fmla="*/ 34332 w 60290"/>
                <a:gd name="connsiteY11" fmla="*/ 63919 h 87644"/>
                <a:gd name="connsiteX12" fmla="*/ 16468 w 60290"/>
                <a:gd name="connsiteY12" fmla="*/ 55545 h 87644"/>
                <a:gd name="connsiteX13" fmla="*/ 16189 w 60290"/>
                <a:gd name="connsiteY13" fmla="*/ 55545 h 87644"/>
                <a:gd name="connsiteX14" fmla="*/ 16189 w 60290"/>
                <a:gd name="connsiteY14" fmla="*/ 87644 h 87644"/>
                <a:gd name="connsiteX15" fmla="*/ 279 w 60290"/>
                <a:gd name="connsiteY15" fmla="*/ 87644 h 87644"/>
                <a:gd name="connsiteX16" fmla="*/ 279 w 60290"/>
                <a:gd name="connsiteY16" fmla="*/ 1396 h 8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290" h="87644">
                  <a:moveTo>
                    <a:pt x="15910" y="31820"/>
                  </a:moveTo>
                  <a:cubicBezTo>
                    <a:pt x="15910" y="40473"/>
                    <a:pt x="19259" y="51637"/>
                    <a:pt x="29866" y="51637"/>
                  </a:cubicBezTo>
                  <a:cubicBezTo>
                    <a:pt x="40194" y="51637"/>
                    <a:pt x="43264" y="40194"/>
                    <a:pt x="43264" y="31820"/>
                  </a:cubicBezTo>
                  <a:cubicBezTo>
                    <a:pt x="43264" y="23725"/>
                    <a:pt x="40473" y="12281"/>
                    <a:pt x="30145" y="12281"/>
                  </a:cubicBezTo>
                  <a:cubicBezTo>
                    <a:pt x="19818" y="12281"/>
                    <a:pt x="15910" y="23167"/>
                    <a:pt x="15910" y="31820"/>
                  </a:cubicBezTo>
                  <a:moveTo>
                    <a:pt x="0" y="1396"/>
                  </a:moveTo>
                  <a:lnTo>
                    <a:pt x="15352" y="1396"/>
                  </a:lnTo>
                  <a:lnTo>
                    <a:pt x="15352" y="10048"/>
                  </a:lnTo>
                  <a:lnTo>
                    <a:pt x="15631" y="10048"/>
                  </a:lnTo>
                  <a:cubicBezTo>
                    <a:pt x="19259" y="4187"/>
                    <a:pt x="25400" y="0"/>
                    <a:pt x="34611" y="0"/>
                  </a:cubicBezTo>
                  <a:cubicBezTo>
                    <a:pt x="53312" y="0"/>
                    <a:pt x="60290" y="15073"/>
                    <a:pt x="60290" y="31820"/>
                  </a:cubicBezTo>
                  <a:cubicBezTo>
                    <a:pt x="60290" y="48567"/>
                    <a:pt x="53312" y="63919"/>
                    <a:pt x="34332" y="63919"/>
                  </a:cubicBezTo>
                  <a:cubicBezTo>
                    <a:pt x="27633" y="63919"/>
                    <a:pt x="22051" y="62244"/>
                    <a:pt x="16468" y="55545"/>
                  </a:cubicBezTo>
                  <a:lnTo>
                    <a:pt x="16189" y="55545"/>
                  </a:lnTo>
                  <a:lnTo>
                    <a:pt x="16189" y="87644"/>
                  </a:lnTo>
                  <a:lnTo>
                    <a:pt x="279" y="87644"/>
                  </a:lnTo>
                  <a:lnTo>
                    <a:pt x="279" y="1396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6156398-1542-4DAA-A9F4-CC1E60A6E74A}"/>
                </a:ext>
              </a:extLst>
            </p:cNvPr>
            <p:cNvSpPr/>
            <p:nvPr/>
          </p:nvSpPr>
          <p:spPr>
            <a:xfrm>
              <a:off x="2261017" y="1150173"/>
              <a:ext cx="56382" cy="62523"/>
            </a:xfrm>
            <a:custGeom>
              <a:avLst/>
              <a:gdLst>
                <a:gd name="connsiteX0" fmla="*/ 56382 w 56382"/>
                <a:gd name="connsiteY0" fmla="*/ 61128 h 62523"/>
                <a:gd name="connsiteX1" fmla="*/ 41310 w 56382"/>
                <a:gd name="connsiteY1" fmla="*/ 61128 h 62523"/>
                <a:gd name="connsiteX2" fmla="*/ 41310 w 56382"/>
                <a:gd name="connsiteY2" fmla="*/ 52754 h 62523"/>
                <a:gd name="connsiteX3" fmla="*/ 41031 w 56382"/>
                <a:gd name="connsiteY3" fmla="*/ 52754 h 62523"/>
                <a:gd name="connsiteX4" fmla="*/ 20934 w 56382"/>
                <a:gd name="connsiteY4" fmla="*/ 62523 h 62523"/>
                <a:gd name="connsiteX5" fmla="*/ 0 w 56382"/>
                <a:gd name="connsiteY5" fmla="*/ 38519 h 62523"/>
                <a:gd name="connsiteX6" fmla="*/ 0 w 56382"/>
                <a:gd name="connsiteY6" fmla="*/ 0 h 62523"/>
                <a:gd name="connsiteX7" fmla="*/ 15910 w 56382"/>
                <a:gd name="connsiteY7" fmla="*/ 0 h 62523"/>
                <a:gd name="connsiteX8" fmla="*/ 15910 w 56382"/>
                <a:gd name="connsiteY8" fmla="*/ 32657 h 62523"/>
                <a:gd name="connsiteX9" fmla="*/ 26237 w 56382"/>
                <a:gd name="connsiteY9" fmla="*/ 50242 h 62523"/>
                <a:gd name="connsiteX10" fmla="*/ 40193 w 56382"/>
                <a:gd name="connsiteY10" fmla="*/ 29866 h 62523"/>
                <a:gd name="connsiteX11" fmla="*/ 40193 w 56382"/>
                <a:gd name="connsiteY11" fmla="*/ 0 h 62523"/>
                <a:gd name="connsiteX12" fmla="*/ 56103 w 56382"/>
                <a:gd name="connsiteY12" fmla="*/ 0 h 62523"/>
                <a:gd name="connsiteX13" fmla="*/ 56103 w 56382"/>
                <a:gd name="connsiteY13" fmla="*/ 61128 h 62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382" h="62523">
                  <a:moveTo>
                    <a:pt x="56382" y="61128"/>
                  </a:moveTo>
                  <a:lnTo>
                    <a:pt x="41310" y="61128"/>
                  </a:lnTo>
                  <a:lnTo>
                    <a:pt x="41310" y="52754"/>
                  </a:lnTo>
                  <a:lnTo>
                    <a:pt x="41031" y="52754"/>
                  </a:lnTo>
                  <a:cubicBezTo>
                    <a:pt x="36286" y="58616"/>
                    <a:pt x="29308" y="62523"/>
                    <a:pt x="20934" y="62523"/>
                  </a:cubicBezTo>
                  <a:cubicBezTo>
                    <a:pt x="6420" y="62523"/>
                    <a:pt x="0" y="52196"/>
                    <a:pt x="0" y="38519"/>
                  </a:cubicBezTo>
                  <a:lnTo>
                    <a:pt x="0" y="0"/>
                  </a:lnTo>
                  <a:lnTo>
                    <a:pt x="15910" y="0"/>
                  </a:lnTo>
                  <a:lnTo>
                    <a:pt x="15910" y="32657"/>
                  </a:lnTo>
                  <a:cubicBezTo>
                    <a:pt x="15910" y="40194"/>
                    <a:pt x="15910" y="50242"/>
                    <a:pt x="26237" y="50242"/>
                  </a:cubicBezTo>
                  <a:cubicBezTo>
                    <a:pt x="37681" y="50242"/>
                    <a:pt x="40193" y="37681"/>
                    <a:pt x="40193" y="29866"/>
                  </a:cubicBezTo>
                  <a:lnTo>
                    <a:pt x="40193" y="0"/>
                  </a:lnTo>
                  <a:lnTo>
                    <a:pt x="56103" y="0"/>
                  </a:lnTo>
                  <a:lnTo>
                    <a:pt x="56103" y="61128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5A7E4A2-BDAA-4B10-AAAC-3A849ED04ADB}"/>
                </a:ext>
              </a:extLst>
            </p:cNvPr>
            <p:cNvSpPr/>
            <p:nvPr/>
          </p:nvSpPr>
          <p:spPr>
            <a:xfrm>
              <a:off x="2333868" y="1122261"/>
              <a:ext cx="60290" cy="90435"/>
            </a:xfrm>
            <a:custGeom>
              <a:avLst/>
              <a:gdLst>
                <a:gd name="connsiteX0" fmla="*/ 29866 w 60290"/>
                <a:gd name="connsiteY0" fmla="*/ 78154 h 90435"/>
                <a:gd name="connsiteX1" fmla="*/ 43264 w 60290"/>
                <a:gd name="connsiteY1" fmla="*/ 58336 h 90435"/>
                <a:gd name="connsiteX2" fmla="*/ 30145 w 60290"/>
                <a:gd name="connsiteY2" fmla="*/ 38798 h 90435"/>
                <a:gd name="connsiteX3" fmla="*/ 15910 w 60290"/>
                <a:gd name="connsiteY3" fmla="*/ 58336 h 90435"/>
                <a:gd name="connsiteX4" fmla="*/ 29866 w 60290"/>
                <a:gd name="connsiteY4" fmla="*/ 78154 h 90435"/>
                <a:gd name="connsiteX5" fmla="*/ 0 w 60290"/>
                <a:gd name="connsiteY5" fmla="*/ 0 h 90435"/>
                <a:gd name="connsiteX6" fmla="*/ 15910 w 60290"/>
                <a:gd name="connsiteY6" fmla="*/ 0 h 90435"/>
                <a:gd name="connsiteX7" fmla="*/ 15910 w 60290"/>
                <a:gd name="connsiteY7" fmla="*/ 35728 h 90435"/>
                <a:gd name="connsiteX8" fmla="*/ 16189 w 60290"/>
                <a:gd name="connsiteY8" fmla="*/ 35728 h 90435"/>
                <a:gd name="connsiteX9" fmla="*/ 34611 w 60290"/>
                <a:gd name="connsiteY9" fmla="*/ 26517 h 90435"/>
                <a:gd name="connsiteX10" fmla="*/ 60290 w 60290"/>
                <a:gd name="connsiteY10" fmla="*/ 58336 h 90435"/>
                <a:gd name="connsiteX11" fmla="*/ 34611 w 60290"/>
                <a:gd name="connsiteY11" fmla="*/ 90435 h 90435"/>
                <a:gd name="connsiteX12" fmla="*/ 15910 w 60290"/>
                <a:gd name="connsiteY12" fmla="*/ 81504 h 90435"/>
                <a:gd name="connsiteX13" fmla="*/ 15352 w 60290"/>
                <a:gd name="connsiteY13" fmla="*/ 81504 h 90435"/>
                <a:gd name="connsiteX14" fmla="*/ 15352 w 60290"/>
                <a:gd name="connsiteY14" fmla="*/ 89040 h 90435"/>
                <a:gd name="connsiteX15" fmla="*/ 0 w 60290"/>
                <a:gd name="connsiteY15" fmla="*/ 89040 h 90435"/>
                <a:gd name="connsiteX16" fmla="*/ 0 w 60290"/>
                <a:gd name="connsiteY16" fmla="*/ 0 h 90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290" h="90435">
                  <a:moveTo>
                    <a:pt x="29866" y="78154"/>
                  </a:moveTo>
                  <a:cubicBezTo>
                    <a:pt x="40194" y="78154"/>
                    <a:pt x="43264" y="66710"/>
                    <a:pt x="43264" y="58336"/>
                  </a:cubicBezTo>
                  <a:cubicBezTo>
                    <a:pt x="43264" y="50242"/>
                    <a:pt x="40473" y="38798"/>
                    <a:pt x="30145" y="38798"/>
                  </a:cubicBezTo>
                  <a:cubicBezTo>
                    <a:pt x="19818" y="38798"/>
                    <a:pt x="15910" y="49684"/>
                    <a:pt x="15910" y="58336"/>
                  </a:cubicBezTo>
                  <a:cubicBezTo>
                    <a:pt x="15910" y="66989"/>
                    <a:pt x="19259" y="78154"/>
                    <a:pt x="29866" y="78154"/>
                  </a:cubicBezTo>
                  <a:moveTo>
                    <a:pt x="0" y="0"/>
                  </a:moveTo>
                  <a:lnTo>
                    <a:pt x="15910" y="0"/>
                  </a:lnTo>
                  <a:lnTo>
                    <a:pt x="15910" y="35728"/>
                  </a:lnTo>
                  <a:lnTo>
                    <a:pt x="16189" y="35728"/>
                  </a:lnTo>
                  <a:cubicBezTo>
                    <a:pt x="20655" y="29866"/>
                    <a:pt x="26237" y="26517"/>
                    <a:pt x="34611" y="26517"/>
                  </a:cubicBezTo>
                  <a:cubicBezTo>
                    <a:pt x="53312" y="26517"/>
                    <a:pt x="60290" y="41589"/>
                    <a:pt x="60290" y="58336"/>
                  </a:cubicBezTo>
                  <a:cubicBezTo>
                    <a:pt x="60290" y="75084"/>
                    <a:pt x="53312" y="90435"/>
                    <a:pt x="34611" y="90435"/>
                  </a:cubicBezTo>
                  <a:cubicBezTo>
                    <a:pt x="27912" y="90435"/>
                    <a:pt x="20376" y="87923"/>
                    <a:pt x="15910" y="81504"/>
                  </a:cubicBezTo>
                  <a:lnTo>
                    <a:pt x="15352" y="81504"/>
                  </a:lnTo>
                  <a:lnTo>
                    <a:pt x="15352" y="89040"/>
                  </a:lnTo>
                  <a:lnTo>
                    <a:pt x="0" y="890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83048E6-ABC7-439A-ACF0-3B814E5BC46B}"/>
                </a:ext>
              </a:extLst>
            </p:cNvPr>
            <p:cNvSpPr/>
            <p:nvPr/>
          </p:nvSpPr>
          <p:spPr>
            <a:xfrm>
              <a:off x="2406719" y="1122261"/>
              <a:ext cx="15909" cy="89039"/>
            </a:xfrm>
            <a:custGeom>
              <a:avLst/>
              <a:gdLst>
                <a:gd name="connsiteX0" fmla="*/ 0 w 15909"/>
                <a:gd name="connsiteY0" fmla="*/ 0 h 89039"/>
                <a:gd name="connsiteX1" fmla="*/ 15910 w 15909"/>
                <a:gd name="connsiteY1" fmla="*/ 0 h 89039"/>
                <a:gd name="connsiteX2" fmla="*/ 15910 w 15909"/>
                <a:gd name="connsiteY2" fmla="*/ 89040 h 89039"/>
                <a:gd name="connsiteX3" fmla="*/ 0 w 15909"/>
                <a:gd name="connsiteY3" fmla="*/ 89040 h 8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09" h="89039">
                  <a:moveTo>
                    <a:pt x="0" y="0"/>
                  </a:moveTo>
                  <a:lnTo>
                    <a:pt x="15910" y="0"/>
                  </a:lnTo>
                  <a:lnTo>
                    <a:pt x="15910" y="89040"/>
                  </a:lnTo>
                  <a:lnTo>
                    <a:pt x="0" y="8904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22A0C10-A938-477E-85BD-A26671020351}"/>
                </a:ext>
              </a:extLst>
            </p:cNvPr>
            <p:cNvSpPr/>
            <p:nvPr/>
          </p:nvSpPr>
          <p:spPr>
            <a:xfrm>
              <a:off x="2439655" y="1123656"/>
              <a:ext cx="15909" cy="87644"/>
            </a:xfrm>
            <a:custGeom>
              <a:avLst/>
              <a:gdLst>
                <a:gd name="connsiteX0" fmla="*/ 0 w 15909"/>
                <a:gd name="connsiteY0" fmla="*/ 26517 h 87644"/>
                <a:gd name="connsiteX1" fmla="*/ 15910 w 15909"/>
                <a:gd name="connsiteY1" fmla="*/ 26517 h 87644"/>
                <a:gd name="connsiteX2" fmla="*/ 15910 w 15909"/>
                <a:gd name="connsiteY2" fmla="*/ 87644 h 87644"/>
                <a:gd name="connsiteX3" fmla="*/ 0 w 15909"/>
                <a:gd name="connsiteY3" fmla="*/ 87644 h 87644"/>
                <a:gd name="connsiteX4" fmla="*/ 0 w 15909"/>
                <a:gd name="connsiteY4" fmla="*/ 26517 h 87644"/>
                <a:gd name="connsiteX5" fmla="*/ 0 w 15909"/>
                <a:gd name="connsiteY5" fmla="*/ 0 h 87644"/>
                <a:gd name="connsiteX6" fmla="*/ 15910 w 15909"/>
                <a:gd name="connsiteY6" fmla="*/ 0 h 87644"/>
                <a:gd name="connsiteX7" fmla="*/ 15910 w 15909"/>
                <a:gd name="connsiteY7" fmla="*/ 15352 h 87644"/>
                <a:gd name="connsiteX8" fmla="*/ 0 w 15909"/>
                <a:gd name="connsiteY8" fmla="*/ 15352 h 87644"/>
                <a:gd name="connsiteX9" fmla="*/ 0 w 15909"/>
                <a:gd name="connsiteY9" fmla="*/ 0 h 8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909" h="87644">
                  <a:moveTo>
                    <a:pt x="0" y="26517"/>
                  </a:moveTo>
                  <a:lnTo>
                    <a:pt x="15910" y="26517"/>
                  </a:lnTo>
                  <a:lnTo>
                    <a:pt x="15910" y="87644"/>
                  </a:lnTo>
                  <a:lnTo>
                    <a:pt x="0" y="87644"/>
                  </a:lnTo>
                  <a:lnTo>
                    <a:pt x="0" y="26517"/>
                  </a:lnTo>
                  <a:close/>
                  <a:moveTo>
                    <a:pt x="0" y="0"/>
                  </a:moveTo>
                  <a:lnTo>
                    <a:pt x="15910" y="0"/>
                  </a:lnTo>
                  <a:lnTo>
                    <a:pt x="15910" y="15352"/>
                  </a:lnTo>
                  <a:lnTo>
                    <a:pt x="0" y="153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ECAF010A-0702-4939-A918-AB2C43867E99}"/>
                </a:ext>
              </a:extLst>
            </p:cNvPr>
            <p:cNvSpPr/>
            <p:nvPr/>
          </p:nvSpPr>
          <p:spPr>
            <a:xfrm>
              <a:off x="2468404" y="1148498"/>
              <a:ext cx="46055" cy="64197"/>
            </a:xfrm>
            <a:custGeom>
              <a:avLst/>
              <a:gdLst>
                <a:gd name="connsiteX0" fmla="*/ 43543 w 46055"/>
                <a:gd name="connsiteY0" fmla="*/ 14793 h 64197"/>
                <a:gd name="connsiteX1" fmla="*/ 32657 w 46055"/>
                <a:gd name="connsiteY1" fmla="*/ 12560 h 64197"/>
                <a:gd name="connsiteX2" fmla="*/ 16468 w 46055"/>
                <a:gd name="connsiteY2" fmla="*/ 31820 h 64197"/>
                <a:gd name="connsiteX3" fmla="*/ 32936 w 46055"/>
                <a:gd name="connsiteY3" fmla="*/ 51917 h 64197"/>
                <a:gd name="connsiteX4" fmla="*/ 45218 w 46055"/>
                <a:gd name="connsiteY4" fmla="*/ 49125 h 64197"/>
                <a:gd name="connsiteX5" fmla="*/ 46055 w 46055"/>
                <a:gd name="connsiteY5" fmla="*/ 62244 h 64197"/>
                <a:gd name="connsiteX6" fmla="*/ 30145 w 46055"/>
                <a:gd name="connsiteY6" fmla="*/ 64198 h 64197"/>
                <a:gd name="connsiteX7" fmla="*/ 0 w 46055"/>
                <a:gd name="connsiteY7" fmla="*/ 31820 h 64197"/>
                <a:gd name="connsiteX8" fmla="*/ 29587 w 46055"/>
                <a:gd name="connsiteY8" fmla="*/ 0 h 64197"/>
                <a:gd name="connsiteX9" fmla="*/ 44938 w 46055"/>
                <a:gd name="connsiteY9" fmla="*/ 1954 h 64197"/>
                <a:gd name="connsiteX10" fmla="*/ 43543 w 46055"/>
                <a:gd name="connsiteY10" fmla="*/ 1479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55" h="64197">
                  <a:moveTo>
                    <a:pt x="43543" y="14793"/>
                  </a:moveTo>
                  <a:cubicBezTo>
                    <a:pt x="40752" y="13398"/>
                    <a:pt x="37681" y="12560"/>
                    <a:pt x="32657" y="12560"/>
                  </a:cubicBezTo>
                  <a:cubicBezTo>
                    <a:pt x="22888" y="12560"/>
                    <a:pt x="16468" y="20376"/>
                    <a:pt x="16468" y="31820"/>
                  </a:cubicBezTo>
                  <a:cubicBezTo>
                    <a:pt x="16468" y="43264"/>
                    <a:pt x="21771" y="51917"/>
                    <a:pt x="32936" y="51917"/>
                  </a:cubicBezTo>
                  <a:cubicBezTo>
                    <a:pt x="37402" y="51917"/>
                    <a:pt x="42426" y="50242"/>
                    <a:pt x="45218" y="49125"/>
                  </a:cubicBezTo>
                  <a:lnTo>
                    <a:pt x="46055" y="62244"/>
                  </a:lnTo>
                  <a:cubicBezTo>
                    <a:pt x="41310" y="63640"/>
                    <a:pt x="36565" y="64198"/>
                    <a:pt x="30145" y="64198"/>
                  </a:cubicBezTo>
                  <a:cubicBezTo>
                    <a:pt x="10048" y="64198"/>
                    <a:pt x="0" y="50521"/>
                    <a:pt x="0" y="31820"/>
                  </a:cubicBezTo>
                  <a:cubicBezTo>
                    <a:pt x="0" y="14235"/>
                    <a:pt x="10328" y="0"/>
                    <a:pt x="29587" y="0"/>
                  </a:cubicBezTo>
                  <a:cubicBezTo>
                    <a:pt x="36007" y="0"/>
                    <a:pt x="40752" y="837"/>
                    <a:pt x="44938" y="1954"/>
                  </a:cubicBezTo>
                  <a:lnTo>
                    <a:pt x="43543" y="14793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03996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E148E6-D29E-4314-A4D9-2933A08EA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1906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E148E6-D29E-4314-A4D9-2933A08EA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2B72D3-9110-4767-9BCA-75BA68E07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203013-F28A-4AFF-9C46-D5F0BC786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68D614-F402-4C14-81E3-E31093862FA1}" type="datetime1">
              <a:rPr lang="en-US" smtClean="0"/>
              <a:pPr/>
              <a:t>4/24/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43F033-6218-4FC3-BF97-221D840116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975834" y="6446579"/>
            <a:ext cx="2743200" cy="1846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837C99E-FD15-4DCC-8D86-578F5468F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AE83E1D-1471-4DA8-95D9-E1E969BCF023}"/>
              </a:ext>
            </a:extLst>
          </p:cNvPr>
          <p:cNvSpPr txBox="1">
            <a:spLocks/>
          </p:cNvSpPr>
          <p:nvPr userDrawn="1"/>
        </p:nvSpPr>
        <p:spPr>
          <a:xfrm>
            <a:off x="8975834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6524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3EA6A7C-7158-40AB-96DA-91EA5136F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064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3EA6A7C-7158-40AB-96DA-91EA5136F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906090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E148E6-D29E-4314-A4D9-2933A08EA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460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E148E6-D29E-4314-A4D9-2933A08EA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2B72D3-9110-4767-9BCA-75BA68E0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558930"/>
            <a:ext cx="10753834" cy="526298"/>
          </a:xfrm>
        </p:spPr>
        <p:txBody>
          <a:bodyPr vert="horz"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203013-F28A-4AFF-9C46-D5F0BC786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8D614-F402-4C14-81E3-E31093862FA1}" type="datetime1">
              <a:rPr lang="en-US" smtClean="0"/>
              <a:t>4/24/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43F033-6218-4FC3-BF97-221D840116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975834" y="6446579"/>
            <a:ext cx="2743200" cy="184666"/>
          </a:xfrm>
        </p:spPr>
        <p:txBody>
          <a:bodyPr/>
          <a:lstStyle/>
          <a:p>
            <a:fld id="{2837C99E-FD15-4DCC-8D86-578F5468FE4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AE83E1D-1471-4DA8-95D9-E1E969BCF023}"/>
              </a:ext>
            </a:extLst>
          </p:cNvPr>
          <p:cNvSpPr txBox="1">
            <a:spLocks/>
          </p:cNvSpPr>
          <p:nvPr userDrawn="1"/>
        </p:nvSpPr>
        <p:spPr>
          <a:xfrm>
            <a:off x="8975834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7C99E-FD15-4DCC-8D86-578F5468F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DC4813B-122E-4FDA-BEA1-E0B3E3B1EC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692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E148E6-D29E-4314-A4D9-2933A08EA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47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E148E6-D29E-4314-A4D9-2933A08EA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2B72D3-9110-4767-9BCA-75BA68E0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558930"/>
            <a:ext cx="10753834" cy="526298"/>
          </a:xfrm>
        </p:spPr>
        <p:txBody>
          <a:bodyPr vert="horz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203013-F28A-4AFF-9C46-D5F0BC786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68D614-F402-4C14-81E3-E31093862FA1}" type="datetime1">
              <a:rPr lang="en-US" smtClean="0"/>
              <a:pPr/>
              <a:t>4/24/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43F033-6218-4FC3-BF97-221D840116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975834" y="6446579"/>
            <a:ext cx="2743200" cy="1846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837C99E-FD15-4DCC-8D86-578F5468F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AE83E1D-1471-4DA8-95D9-E1E969BCF023}"/>
              </a:ext>
            </a:extLst>
          </p:cNvPr>
          <p:cNvSpPr txBox="1">
            <a:spLocks/>
          </p:cNvSpPr>
          <p:nvPr userDrawn="1"/>
        </p:nvSpPr>
        <p:spPr>
          <a:xfrm>
            <a:off x="8975834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DC4813B-122E-4FDA-BEA1-E0B3E3B1EC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895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E148E6-D29E-4314-A4D9-2933A08EA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1906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E148E6-D29E-4314-A4D9-2933A08EA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2B72D3-9110-4767-9BCA-75BA68E07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203013-F28A-4AFF-9C46-D5F0BC786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68D614-F402-4C14-81E3-E31093862FA1}" type="datetime1">
              <a:rPr lang="en-US" smtClean="0"/>
              <a:pPr/>
              <a:t>4/24/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43F033-6218-4FC3-BF97-221D840116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975834" y="6446579"/>
            <a:ext cx="2743200" cy="1846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837C99E-FD15-4DCC-8D86-578F5468F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AE83E1D-1471-4DA8-95D9-E1E969BCF023}"/>
              </a:ext>
            </a:extLst>
          </p:cNvPr>
          <p:cNvSpPr txBox="1">
            <a:spLocks/>
          </p:cNvSpPr>
          <p:nvPr userDrawn="1"/>
        </p:nvSpPr>
        <p:spPr>
          <a:xfrm>
            <a:off x="8975834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69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3EA6A7C-7158-40AB-96DA-91EA5136F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064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3EA6A7C-7158-40AB-96DA-91EA5136F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09840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AA810-4EEC-4D0F-B163-DFC963816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FB6233-FC4F-4628-BA1D-2782F64945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A1D367-A9C7-46F9-B78E-724D1BEC06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3ADE164-D45A-44D8-82C5-2E0962BB70DA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12706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1FFE54-0935-4251-9637-7E6BC65EFE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035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1FFE54-0935-4251-9637-7E6BC65EFE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picture containing light, traffic, red, star&#10;&#10;Description automatically generated">
            <a:extLst>
              <a:ext uri="{FF2B5EF4-FFF2-40B4-BE49-F238E27FC236}">
                <a16:creationId xmlns:a16="http://schemas.microsoft.com/office/drawing/2014/main" id="{A08A7142-CCE2-4962-ADC6-1F88B3AC89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18" b="7618"/>
          <a:stretch/>
        </p:blipFill>
        <p:spPr>
          <a:xfrm>
            <a:off x="1599222" y="0"/>
            <a:ext cx="10592778" cy="6858001"/>
          </a:xfrm>
          <a:prstGeom prst="rect">
            <a:avLst/>
          </a:prstGeom>
        </p:spPr>
      </p:pic>
      <p:pic>
        <p:nvPicPr>
          <p:cNvPr id="10" name="Picture 9" descr="A picture containing light, traffic, red, star&#10;&#10;Description automatically generated">
            <a:extLst>
              <a:ext uri="{FF2B5EF4-FFF2-40B4-BE49-F238E27FC236}">
                <a16:creationId xmlns:a16="http://schemas.microsoft.com/office/drawing/2014/main" id="{E0E5A6D6-0B09-4EDF-880D-168BBFE8A3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18" r="97293" b="7618"/>
          <a:stretch/>
        </p:blipFill>
        <p:spPr>
          <a:xfrm flipH="1">
            <a:off x="-9524" y="1"/>
            <a:ext cx="1621446" cy="6858000"/>
          </a:xfrm>
          <a:prstGeom prst="rect">
            <a:avLst/>
          </a:prstGeom>
        </p:spPr>
      </p:pic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85BAABF-22D5-4937-9A78-67AD4FA823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latin typeface="Montserrat" panose="00000500000000000000" pitchFamily="2" charset="-18"/>
              <a:ea typeface="+mj-ea"/>
              <a:cs typeface="+mj-cs"/>
              <a:sym typeface="Montserrat" panose="00000500000000000000" pitchFamily="2" charset="-1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22F8D4-A0EA-40AB-8B29-C6A1A37D3A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2966" y="2504245"/>
            <a:ext cx="5396892" cy="1477328"/>
          </a:xfrm>
        </p:spPr>
        <p:txBody>
          <a:bodyPr vert="horz" anchor="b"/>
          <a:lstStyle>
            <a:lvl1pPr algn="l">
              <a:lnSpc>
                <a:spcPct val="100000"/>
              </a:lnSpc>
              <a:spcBef>
                <a:spcPts val="0"/>
              </a:spcBef>
              <a:defRPr sz="4800" b="1">
                <a:solidFill>
                  <a:schemeClr val="bg1"/>
                </a:solidFill>
                <a:latin typeface="Bai Jamjuree" panose="00000500000000000000" pitchFamily="2" charset="-34"/>
                <a:cs typeface="Bai Jamjuree" panose="00000500000000000000" pitchFamily="2" charset="-3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A7DC9DA-0751-434D-87B8-60F37CA324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2966" y="4536103"/>
            <a:ext cx="5396892" cy="276999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Bai Jamjuree" panose="00000500000000000000" pitchFamily="2" charset="-34"/>
                <a:cs typeface="Bai Jamjuree" panose="00000500000000000000" pitchFamily="2" charset="-34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FFD647-1D5C-4418-8347-07DD00AC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Bai Jamjuree" panose="00000500000000000000" pitchFamily="2" charset="-34"/>
                <a:cs typeface="Bai Jamjuree" panose="00000500000000000000" pitchFamily="2" charset="-34"/>
              </a:defRPr>
            </a:lvl1pPr>
          </a:lstStyle>
          <a:p>
            <a:fld id="{6F64FA0B-D8D5-45D2-AA0B-680827D56F89}" type="datetime1">
              <a:rPr lang="en-US" smtClean="0"/>
              <a:pPr/>
              <a:t>4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48D8F9-7A50-45A1-A2B8-A07A57396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46579"/>
            <a:ext cx="4114800" cy="18466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Bai Jamjuree" panose="00000500000000000000" pitchFamily="2" charset="-34"/>
                <a:cs typeface="Bai Jamjuree" panose="00000500000000000000" pitchFamily="2" charset="-34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0A4523-49EB-4F1C-9B1F-483E9759D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Bai Jamjuree" panose="00000500000000000000" pitchFamily="2" charset="-34"/>
                <a:cs typeface="Bai Jamjuree" panose="00000500000000000000" pitchFamily="2" charset="-34"/>
              </a:defRPr>
            </a:lvl1pPr>
          </a:lstStyle>
          <a:p>
            <a:fld id="{2837C99E-FD15-4DCC-8D86-578F5468FE4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D6CED94-F737-4435-9FD3-35F77318C962}"/>
              </a:ext>
            </a:extLst>
          </p:cNvPr>
          <p:cNvGrpSpPr/>
          <p:nvPr userDrawn="1"/>
        </p:nvGrpSpPr>
        <p:grpSpPr>
          <a:xfrm>
            <a:off x="467367" y="450537"/>
            <a:ext cx="2327593" cy="647003"/>
            <a:chOff x="593546" y="589418"/>
            <a:chExt cx="2327593" cy="647003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903A0A0-A2A0-48E4-858E-3862DEABE3CE}"/>
                </a:ext>
              </a:extLst>
            </p:cNvPr>
            <p:cNvSpPr/>
            <p:nvPr/>
          </p:nvSpPr>
          <p:spPr>
            <a:xfrm>
              <a:off x="593546" y="589418"/>
              <a:ext cx="660680" cy="643096"/>
            </a:xfrm>
            <a:custGeom>
              <a:avLst/>
              <a:gdLst>
                <a:gd name="connsiteX0" fmla="*/ 327968 w 660680"/>
                <a:gd name="connsiteY0" fmla="*/ 643096 h 643096"/>
                <a:gd name="connsiteX1" fmla="*/ 0 w 660680"/>
                <a:gd name="connsiteY1" fmla="*/ 643096 h 643096"/>
                <a:gd name="connsiteX2" fmla="*/ 0 w 660680"/>
                <a:gd name="connsiteY2" fmla="*/ 0 h 643096"/>
                <a:gd name="connsiteX3" fmla="*/ 327968 w 660680"/>
                <a:gd name="connsiteY3" fmla="*/ 0 h 643096"/>
                <a:gd name="connsiteX4" fmla="*/ 547636 w 660680"/>
                <a:gd name="connsiteY4" fmla="*/ 66431 h 643096"/>
                <a:gd name="connsiteX5" fmla="*/ 652865 w 660680"/>
                <a:gd name="connsiteY5" fmla="*/ 216040 h 643096"/>
                <a:gd name="connsiteX6" fmla="*/ 659564 w 660680"/>
                <a:gd name="connsiteY6" fmla="*/ 236695 h 643096"/>
                <a:gd name="connsiteX7" fmla="*/ 545403 w 660680"/>
                <a:gd name="connsiteY7" fmla="*/ 236695 h 643096"/>
                <a:gd name="connsiteX8" fmla="*/ 540937 w 660680"/>
                <a:gd name="connsiteY8" fmla="*/ 227763 h 643096"/>
                <a:gd name="connsiteX9" fmla="*/ 330201 w 660680"/>
                <a:gd name="connsiteY9" fmla="*/ 104112 h 643096"/>
                <a:gd name="connsiteX10" fmla="*/ 102996 w 660680"/>
                <a:gd name="connsiteY10" fmla="*/ 104112 h 643096"/>
                <a:gd name="connsiteX11" fmla="*/ 102996 w 660680"/>
                <a:gd name="connsiteY11" fmla="*/ 537867 h 643096"/>
                <a:gd name="connsiteX12" fmla="*/ 325735 w 660680"/>
                <a:gd name="connsiteY12" fmla="*/ 537867 h 643096"/>
                <a:gd name="connsiteX13" fmla="*/ 540100 w 660680"/>
                <a:gd name="connsiteY13" fmla="*/ 440454 h 643096"/>
                <a:gd name="connsiteX14" fmla="*/ 491254 w 660680"/>
                <a:gd name="connsiteY14" fmla="*/ 440454 h 643096"/>
                <a:gd name="connsiteX15" fmla="*/ 327968 w 660680"/>
                <a:gd name="connsiteY15" fmla="*/ 504652 h 643096"/>
                <a:gd name="connsiteX16" fmla="*/ 142910 w 660680"/>
                <a:gd name="connsiteY16" fmla="*/ 504652 h 643096"/>
                <a:gd name="connsiteX17" fmla="*/ 142910 w 660680"/>
                <a:gd name="connsiteY17" fmla="*/ 138444 h 643096"/>
                <a:gd name="connsiteX18" fmla="*/ 327968 w 660680"/>
                <a:gd name="connsiteY18" fmla="*/ 138444 h 643096"/>
                <a:gd name="connsiteX19" fmla="*/ 468645 w 660680"/>
                <a:gd name="connsiteY19" fmla="*/ 188407 h 643096"/>
                <a:gd name="connsiteX20" fmla="*/ 509955 w 660680"/>
                <a:gd name="connsiteY20" fmla="*/ 271306 h 643096"/>
                <a:gd name="connsiteX21" fmla="*/ 660681 w 660680"/>
                <a:gd name="connsiteY21" fmla="*/ 271585 h 643096"/>
                <a:gd name="connsiteX22" fmla="*/ 660681 w 660680"/>
                <a:gd name="connsiteY22" fmla="*/ 303126 h 643096"/>
                <a:gd name="connsiteX23" fmla="*/ 485113 w 660680"/>
                <a:gd name="connsiteY23" fmla="*/ 302847 h 643096"/>
                <a:gd name="connsiteX24" fmla="*/ 481764 w 660680"/>
                <a:gd name="connsiteY24" fmla="*/ 291403 h 643096"/>
                <a:gd name="connsiteX25" fmla="*/ 478972 w 660680"/>
                <a:gd name="connsiteY25" fmla="*/ 281634 h 643096"/>
                <a:gd name="connsiteX26" fmla="*/ 327968 w 660680"/>
                <a:gd name="connsiteY26" fmla="*/ 169985 h 643096"/>
                <a:gd name="connsiteX27" fmla="*/ 175567 w 660680"/>
                <a:gd name="connsiteY27" fmla="*/ 169985 h 643096"/>
                <a:gd name="connsiteX28" fmla="*/ 175567 w 660680"/>
                <a:gd name="connsiteY28" fmla="*/ 472553 h 643096"/>
                <a:gd name="connsiteX29" fmla="*/ 327968 w 660680"/>
                <a:gd name="connsiteY29" fmla="*/ 472553 h 643096"/>
                <a:gd name="connsiteX30" fmla="*/ 469203 w 660680"/>
                <a:gd name="connsiteY30" fmla="*/ 415333 h 643096"/>
                <a:gd name="connsiteX31" fmla="*/ 473948 w 660680"/>
                <a:gd name="connsiteY31" fmla="*/ 408355 h 643096"/>
                <a:gd name="connsiteX32" fmla="*/ 583085 w 660680"/>
                <a:gd name="connsiteY32" fmla="*/ 408355 h 643096"/>
                <a:gd name="connsiteX33" fmla="*/ 578898 w 660680"/>
                <a:gd name="connsiteY33" fmla="*/ 427614 h 643096"/>
                <a:gd name="connsiteX34" fmla="*/ 511071 w 660680"/>
                <a:gd name="connsiteY34" fmla="*/ 519724 h 643096"/>
                <a:gd name="connsiteX35" fmla="*/ 325735 w 660680"/>
                <a:gd name="connsiteY35" fmla="*/ 569408 h 643096"/>
                <a:gd name="connsiteX36" fmla="*/ 70339 w 660680"/>
                <a:gd name="connsiteY36" fmla="*/ 569408 h 643096"/>
                <a:gd name="connsiteX37" fmla="*/ 70339 w 660680"/>
                <a:gd name="connsiteY37" fmla="*/ 72292 h 643096"/>
                <a:gd name="connsiteX38" fmla="*/ 329922 w 660680"/>
                <a:gd name="connsiteY38" fmla="*/ 72292 h 643096"/>
                <a:gd name="connsiteX39" fmla="*/ 493487 w 660680"/>
                <a:gd name="connsiteY39" fmla="*/ 117789 h 643096"/>
                <a:gd name="connsiteX40" fmla="*/ 565500 w 660680"/>
                <a:gd name="connsiteY40" fmla="*/ 204875 h 643096"/>
                <a:gd name="connsiteX41" fmla="*/ 614067 w 660680"/>
                <a:gd name="connsiteY41" fmla="*/ 204875 h 643096"/>
                <a:gd name="connsiteX42" fmla="*/ 327968 w 660680"/>
                <a:gd name="connsiteY42" fmla="*/ 31820 h 643096"/>
                <a:gd name="connsiteX43" fmla="*/ 32657 w 660680"/>
                <a:gd name="connsiteY43" fmla="*/ 31820 h 643096"/>
                <a:gd name="connsiteX44" fmla="*/ 32657 w 660680"/>
                <a:gd name="connsiteY44" fmla="*/ 611276 h 643096"/>
                <a:gd name="connsiteX45" fmla="*/ 327968 w 660680"/>
                <a:gd name="connsiteY45" fmla="*/ 611276 h 643096"/>
                <a:gd name="connsiteX46" fmla="*/ 534797 w 660680"/>
                <a:gd name="connsiteY46" fmla="*/ 552382 h 643096"/>
                <a:gd name="connsiteX47" fmla="*/ 624674 w 660680"/>
                <a:gd name="connsiteY47" fmla="*/ 373186 h 643096"/>
                <a:gd name="connsiteX48" fmla="*/ 483718 w 660680"/>
                <a:gd name="connsiteY48" fmla="*/ 373186 h 643096"/>
                <a:gd name="connsiteX49" fmla="*/ 483718 w 660680"/>
                <a:gd name="connsiteY49" fmla="*/ 341645 h 643096"/>
                <a:gd name="connsiteX50" fmla="*/ 657889 w 660680"/>
                <a:gd name="connsiteY50" fmla="*/ 341645 h 643096"/>
                <a:gd name="connsiteX51" fmla="*/ 657889 w 660680"/>
                <a:gd name="connsiteY51" fmla="*/ 357555 h 643096"/>
                <a:gd name="connsiteX52" fmla="*/ 554614 w 660680"/>
                <a:gd name="connsiteY52" fmla="*/ 577782 h 643096"/>
                <a:gd name="connsiteX53" fmla="*/ 327968 w 660680"/>
                <a:gd name="connsiteY53" fmla="*/ 643096 h 643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60680" h="643096">
                  <a:moveTo>
                    <a:pt x="327968" y="643096"/>
                  </a:moveTo>
                  <a:lnTo>
                    <a:pt x="0" y="643096"/>
                  </a:lnTo>
                  <a:lnTo>
                    <a:pt x="0" y="0"/>
                  </a:lnTo>
                  <a:lnTo>
                    <a:pt x="327968" y="0"/>
                  </a:lnTo>
                  <a:cubicBezTo>
                    <a:pt x="415333" y="0"/>
                    <a:pt x="489300" y="22330"/>
                    <a:pt x="547636" y="66431"/>
                  </a:cubicBezTo>
                  <a:cubicBezTo>
                    <a:pt x="596762" y="103554"/>
                    <a:pt x="633327" y="155192"/>
                    <a:pt x="652865" y="216040"/>
                  </a:cubicBezTo>
                  <a:lnTo>
                    <a:pt x="659564" y="236695"/>
                  </a:lnTo>
                  <a:lnTo>
                    <a:pt x="545403" y="236695"/>
                  </a:lnTo>
                  <a:lnTo>
                    <a:pt x="540937" y="227763"/>
                  </a:lnTo>
                  <a:cubicBezTo>
                    <a:pt x="508838" y="163565"/>
                    <a:pt x="461109" y="104112"/>
                    <a:pt x="330201" y="104112"/>
                  </a:cubicBezTo>
                  <a:lnTo>
                    <a:pt x="102996" y="104112"/>
                  </a:lnTo>
                  <a:lnTo>
                    <a:pt x="102996" y="537867"/>
                  </a:lnTo>
                  <a:lnTo>
                    <a:pt x="325735" y="537867"/>
                  </a:lnTo>
                  <a:cubicBezTo>
                    <a:pt x="458317" y="537867"/>
                    <a:pt x="519724" y="481764"/>
                    <a:pt x="540100" y="440454"/>
                  </a:cubicBezTo>
                  <a:lnTo>
                    <a:pt x="491254" y="440454"/>
                  </a:lnTo>
                  <a:cubicBezTo>
                    <a:pt x="457201" y="485392"/>
                    <a:pt x="407796" y="504652"/>
                    <a:pt x="327968" y="504652"/>
                  </a:cubicBezTo>
                  <a:lnTo>
                    <a:pt x="142910" y="504652"/>
                  </a:lnTo>
                  <a:lnTo>
                    <a:pt x="142910" y="138444"/>
                  </a:lnTo>
                  <a:lnTo>
                    <a:pt x="327968" y="138444"/>
                  </a:lnTo>
                  <a:cubicBezTo>
                    <a:pt x="390212" y="138444"/>
                    <a:pt x="437662" y="155192"/>
                    <a:pt x="468645" y="188407"/>
                  </a:cubicBezTo>
                  <a:cubicBezTo>
                    <a:pt x="494045" y="215482"/>
                    <a:pt x="503814" y="248418"/>
                    <a:pt x="509955" y="271306"/>
                  </a:cubicBezTo>
                  <a:lnTo>
                    <a:pt x="660681" y="271585"/>
                  </a:lnTo>
                  <a:lnTo>
                    <a:pt x="660681" y="303126"/>
                  </a:lnTo>
                  <a:lnTo>
                    <a:pt x="485113" y="302847"/>
                  </a:lnTo>
                  <a:lnTo>
                    <a:pt x="481764" y="291403"/>
                  </a:lnTo>
                  <a:cubicBezTo>
                    <a:pt x="480926" y="288333"/>
                    <a:pt x="480089" y="284983"/>
                    <a:pt x="478972" y="281634"/>
                  </a:cubicBezTo>
                  <a:cubicBezTo>
                    <a:pt x="466691" y="237253"/>
                    <a:pt x="448269" y="169985"/>
                    <a:pt x="327968" y="169985"/>
                  </a:cubicBezTo>
                  <a:lnTo>
                    <a:pt x="175567" y="169985"/>
                  </a:lnTo>
                  <a:lnTo>
                    <a:pt x="175567" y="472553"/>
                  </a:lnTo>
                  <a:lnTo>
                    <a:pt x="327968" y="472553"/>
                  </a:lnTo>
                  <a:cubicBezTo>
                    <a:pt x="412821" y="472553"/>
                    <a:pt x="445757" y="449665"/>
                    <a:pt x="469203" y="415333"/>
                  </a:cubicBezTo>
                  <a:lnTo>
                    <a:pt x="473948" y="408355"/>
                  </a:lnTo>
                  <a:lnTo>
                    <a:pt x="583085" y="408355"/>
                  </a:lnTo>
                  <a:lnTo>
                    <a:pt x="578898" y="427614"/>
                  </a:lnTo>
                  <a:cubicBezTo>
                    <a:pt x="575548" y="443524"/>
                    <a:pt x="561872" y="484276"/>
                    <a:pt x="511071" y="519724"/>
                  </a:cubicBezTo>
                  <a:cubicBezTo>
                    <a:pt x="464179" y="552661"/>
                    <a:pt x="401656" y="569408"/>
                    <a:pt x="325735" y="569408"/>
                  </a:cubicBezTo>
                  <a:lnTo>
                    <a:pt x="70339" y="569408"/>
                  </a:lnTo>
                  <a:lnTo>
                    <a:pt x="70339" y="72292"/>
                  </a:lnTo>
                  <a:lnTo>
                    <a:pt x="329922" y="72292"/>
                  </a:lnTo>
                  <a:cubicBezTo>
                    <a:pt x="398027" y="72292"/>
                    <a:pt x="451339" y="87086"/>
                    <a:pt x="493487" y="117789"/>
                  </a:cubicBezTo>
                  <a:cubicBezTo>
                    <a:pt x="529214" y="143748"/>
                    <a:pt x="550707" y="176963"/>
                    <a:pt x="565500" y="204875"/>
                  </a:cubicBezTo>
                  <a:lnTo>
                    <a:pt x="614067" y="204875"/>
                  </a:lnTo>
                  <a:cubicBezTo>
                    <a:pt x="587551" y="140398"/>
                    <a:pt x="514979" y="31820"/>
                    <a:pt x="327968" y="31820"/>
                  </a:cubicBezTo>
                  <a:lnTo>
                    <a:pt x="32657" y="31820"/>
                  </a:lnTo>
                  <a:lnTo>
                    <a:pt x="32657" y="611276"/>
                  </a:lnTo>
                  <a:lnTo>
                    <a:pt x="327968" y="611276"/>
                  </a:lnTo>
                  <a:cubicBezTo>
                    <a:pt x="410029" y="611276"/>
                    <a:pt x="483438" y="590342"/>
                    <a:pt x="534797" y="552382"/>
                  </a:cubicBezTo>
                  <a:cubicBezTo>
                    <a:pt x="590900" y="510792"/>
                    <a:pt x="621324" y="450502"/>
                    <a:pt x="624674" y="373186"/>
                  </a:cubicBezTo>
                  <a:lnTo>
                    <a:pt x="483718" y="373186"/>
                  </a:lnTo>
                  <a:lnTo>
                    <a:pt x="483718" y="341645"/>
                  </a:lnTo>
                  <a:lnTo>
                    <a:pt x="657889" y="341645"/>
                  </a:lnTo>
                  <a:lnTo>
                    <a:pt x="657889" y="357555"/>
                  </a:lnTo>
                  <a:cubicBezTo>
                    <a:pt x="657889" y="451619"/>
                    <a:pt x="622162" y="527819"/>
                    <a:pt x="554614" y="577782"/>
                  </a:cubicBezTo>
                  <a:cubicBezTo>
                    <a:pt x="496836" y="620487"/>
                    <a:pt x="418403" y="643096"/>
                    <a:pt x="327968" y="643096"/>
                  </a:cubicBezTo>
                </a:path>
              </a:pathLst>
            </a:custGeom>
            <a:solidFill>
              <a:srgbClr val="29B7EA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1EE6F70-3D28-4F79-8B4B-ACF022874290}"/>
                </a:ext>
              </a:extLst>
            </p:cNvPr>
            <p:cNvSpPr/>
            <p:nvPr/>
          </p:nvSpPr>
          <p:spPr>
            <a:xfrm>
              <a:off x="1486455" y="809644"/>
              <a:ext cx="148213" cy="205712"/>
            </a:xfrm>
            <a:custGeom>
              <a:avLst/>
              <a:gdLst>
                <a:gd name="connsiteX0" fmla="*/ 115556 w 148213"/>
                <a:gd name="connsiteY0" fmla="*/ 193152 h 205712"/>
                <a:gd name="connsiteX1" fmla="*/ 75921 w 148213"/>
                <a:gd name="connsiteY1" fmla="*/ 205713 h 205712"/>
                <a:gd name="connsiteX2" fmla="*/ 0 w 148213"/>
                <a:gd name="connsiteY2" fmla="*/ 131745 h 205712"/>
                <a:gd name="connsiteX3" fmla="*/ 75921 w 148213"/>
                <a:gd name="connsiteY3" fmla="*/ 57778 h 205712"/>
                <a:gd name="connsiteX4" fmla="*/ 115556 w 148213"/>
                <a:gd name="connsiteY4" fmla="*/ 70618 h 205712"/>
                <a:gd name="connsiteX5" fmla="*/ 115556 w 148213"/>
                <a:gd name="connsiteY5" fmla="*/ 0 h 205712"/>
                <a:gd name="connsiteX6" fmla="*/ 148214 w 148213"/>
                <a:gd name="connsiteY6" fmla="*/ 0 h 205712"/>
                <a:gd name="connsiteX7" fmla="*/ 148214 w 148213"/>
                <a:gd name="connsiteY7" fmla="*/ 203480 h 205712"/>
                <a:gd name="connsiteX8" fmla="*/ 115556 w 148213"/>
                <a:gd name="connsiteY8" fmla="*/ 203480 h 205712"/>
                <a:gd name="connsiteX9" fmla="*/ 115556 w 148213"/>
                <a:gd name="connsiteY9" fmla="*/ 193152 h 205712"/>
                <a:gd name="connsiteX10" fmla="*/ 115556 w 148213"/>
                <a:gd name="connsiteY10" fmla="*/ 156029 h 205712"/>
                <a:gd name="connsiteX11" fmla="*/ 115556 w 148213"/>
                <a:gd name="connsiteY11" fmla="*/ 107183 h 205712"/>
                <a:gd name="connsiteX12" fmla="*/ 76200 w 148213"/>
                <a:gd name="connsiteY12" fmla="*/ 87644 h 205712"/>
                <a:gd name="connsiteX13" fmla="*/ 33215 w 148213"/>
                <a:gd name="connsiteY13" fmla="*/ 131466 h 205712"/>
                <a:gd name="connsiteX14" fmla="*/ 76200 w 148213"/>
                <a:gd name="connsiteY14" fmla="*/ 175288 h 205712"/>
                <a:gd name="connsiteX15" fmla="*/ 115556 w 148213"/>
                <a:gd name="connsiteY15" fmla="*/ 156029 h 20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205712">
                  <a:moveTo>
                    <a:pt x="115556" y="193152"/>
                  </a:moveTo>
                  <a:cubicBezTo>
                    <a:pt x="105229" y="201247"/>
                    <a:pt x="91552" y="205713"/>
                    <a:pt x="75921" y="205713"/>
                  </a:cubicBezTo>
                  <a:cubicBezTo>
                    <a:pt x="32099" y="205713"/>
                    <a:pt x="0" y="173614"/>
                    <a:pt x="0" y="131745"/>
                  </a:cubicBezTo>
                  <a:cubicBezTo>
                    <a:pt x="0" y="89877"/>
                    <a:pt x="32099" y="57778"/>
                    <a:pt x="75921" y="57778"/>
                  </a:cubicBezTo>
                  <a:cubicBezTo>
                    <a:pt x="91552" y="57778"/>
                    <a:pt x="105229" y="62523"/>
                    <a:pt x="115556" y="70618"/>
                  </a:cubicBezTo>
                  <a:lnTo>
                    <a:pt x="115556" y="0"/>
                  </a:lnTo>
                  <a:lnTo>
                    <a:pt x="148214" y="0"/>
                  </a:lnTo>
                  <a:lnTo>
                    <a:pt x="148214" y="203480"/>
                  </a:lnTo>
                  <a:lnTo>
                    <a:pt x="115556" y="203480"/>
                  </a:lnTo>
                  <a:lnTo>
                    <a:pt x="115556" y="193152"/>
                  </a:lnTo>
                  <a:moveTo>
                    <a:pt x="115556" y="156029"/>
                  </a:moveTo>
                  <a:lnTo>
                    <a:pt x="115556" y="107183"/>
                  </a:lnTo>
                  <a:cubicBezTo>
                    <a:pt x="107462" y="95460"/>
                    <a:pt x="92389" y="87644"/>
                    <a:pt x="76200" y="87644"/>
                  </a:cubicBezTo>
                  <a:cubicBezTo>
                    <a:pt x="51079" y="87644"/>
                    <a:pt x="33215" y="106624"/>
                    <a:pt x="33215" y="131466"/>
                  </a:cubicBezTo>
                  <a:cubicBezTo>
                    <a:pt x="33215" y="156308"/>
                    <a:pt x="51079" y="175288"/>
                    <a:pt x="76200" y="175288"/>
                  </a:cubicBezTo>
                  <a:cubicBezTo>
                    <a:pt x="92668" y="175567"/>
                    <a:pt x="107741" y="167752"/>
                    <a:pt x="115556" y="156029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063A82C-9F6B-40E1-ADC7-BC7A3F9C050A}"/>
                </a:ext>
              </a:extLst>
            </p:cNvPr>
            <p:cNvSpPr/>
            <p:nvPr/>
          </p:nvSpPr>
          <p:spPr>
            <a:xfrm>
              <a:off x="1658394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4 w 148213"/>
                <a:gd name="connsiteY6" fmla="*/ 2233 h 147934"/>
                <a:gd name="connsiteX7" fmla="*/ 148214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5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4" y="2233"/>
                  </a:lnTo>
                  <a:lnTo>
                    <a:pt x="148214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5" y="48846"/>
                    <a:pt x="33215" y="73688"/>
                  </a:cubicBezTo>
                  <a:cubicBezTo>
                    <a:pt x="33215" y="98530"/>
                    <a:pt x="51079" y="117510"/>
                    <a:pt x="76200" y="117510"/>
                  </a:cubicBezTo>
                  <a:cubicBezTo>
                    <a:pt x="92389" y="117789"/>
                    <a:pt x="107462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5397977-C01A-4723-9B4C-A5B5A0C72F9B}"/>
                </a:ext>
              </a:extLst>
            </p:cNvPr>
            <p:cNvSpPr/>
            <p:nvPr/>
          </p:nvSpPr>
          <p:spPr>
            <a:xfrm>
              <a:off x="1825029" y="826671"/>
              <a:ext cx="108578" cy="186453"/>
            </a:xfrm>
            <a:custGeom>
              <a:avLst/>
              <a:gdLst>
                <a:gd name="connsiteX0" fmla="*/ 279 w 108578"/>
                <a:gd name="connsiteY0" fmla="*/ 42985 h 186453"/>
                <a:gd name="connsiteX1" fmla="*/ 21213 w 108578"/>
                <a:gd name="connsiteY1" fmla="*/ 42985 h 186453"/>
                <a:gd name="connsiteX2" fmla="*/ 21213 w 108578"/>
                <a:gd name="connsiteY2" fmla="*/ 15352 h 186453"/>
                <a:gd name="connsiteX3" fmla="*/ 53591 w 108578"/>
                <a:gd name="connsiteY3" fmla="*/ 0 h 186453"/>
                <a:gd name="connsiteX4" fmla="*/ 53591 w 108578"/>
                <a:gd name="connsiteY4" fmla="*/ 42985 h 186453"/>
                <a:gd name="connsiteX5" fmla="*/ 108578 w 108578"/>
                <a:gd name="connsiteY5" fmla="*/ 42985 h 186453"/>
                <a:gd name="connsiteX6" fmla="*/ 91552 w 108578"/>
                <a:gd name="connsiteY6" fmla="*/ 71176 h 186453"/>
                <a:gd name="connsiteX7" fmla="*/ 53591 w 108578"/>
                <a:gd name="connsiteY7" fmla="*/ 71176 h 186453"/>
                <a:gd name="connsiteX8" fmla="*/ 53591 w 108578"/>
                <a:gd name="connsiteY8" fmla="*/ 136211 h 186453"/>
                <a:gd name="connsiteX9" fmla="*/ 74525 w 108578"/>
                <a:gd name="connsiteY9" fmla="*/ 157425 h 186453"/>
                <a:gd name="connsiteX10" fmla="*/ 94901 w 108578"/>
                <a:gd name="connsiteY10" fmla="*/ 157425 h 186453"/>
                <a:gd name="connsiteX11" fmla="*/ 94901 w 108578"/>
                <a:gd name="connsiteY11" fmla="*/ 186453 h 186453"/>
                <a:gd name="connsiteX12" fmla="*/ 66152 w 108578"/>
                <a:gd name="connsiteY12" fmla="*/ 186453 h 186453"/>
                <a:gd name="connsiteX13" fmla="*/ 20934 w 108578"/>
                <a:gd name="connsiteY13" fmla="*/ 142910 h 186453"/>
                <a:gd name="connsiteX14" fmla="*/ 20934 w 108578"/>
                <a:gd name="connsiteY14" fmla="*/ 71176 h 186453"/>
                <a:gd name="connsiteX15" fmla="*/ 0 w 108578"/>
                <a:gd name="connsiteY15" fmla="*/ 71176 h 186453"/>
                <a:gd name="connsiteX16" fmla="*/ 0 w 108578"/>
                <a:gd name="connsiteY16" fmla="*/ 42985 h 186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8578" h="186453">
                  <a:moveTo>
                    <a:pt x="279" y="42985"/>
                  </a:moveTo>
                  <a:lnTo>
                    <a:pt x="21213" y="42985"/>
                  </a:lnTo>
                  <a:lnTo>
                    <a:pt x="21213" y="15352"/>
                  </a:lnTo>
                  <a:lnTo>
                    <a:pt x="53591" y="0"/>
                  </a:lnTo>
                  <a:lnTo>
                    <a:pt x="53591" y="42985"/>
                  </a:lnTo>
                  <a:lnTo>
                    <a:pt x="108578" y="42985"/>
                  </a:lnTo>
                  <a:lnTo>
                    <a:pt x="91552" y="71176"/>
                  </a:lnTo>
                  <a:lnTo>
                    <a:pt x="53591" y="71176"/>
                  </a:lnTo>
                  <a:lnTo>
                    <a:pt x="53591" y="136211"/>
                  </a:lnTo>
                  <a:cubicBezTo>
                    <a:pt x="53591" y="150726"/>
                    <a:pt x="57778" y="157425"/>
                    <a:pt x="74525" y="157425"/>
                  </a:cubicBezTo>
                  <a:lnTo>
                    <a:pt x="94901" y="157425"/>
                  </a:lnTo>
                  <a:lnTo>
                    <a:pt x="94901" y="186453"/>
                  </a:lnTo>
                  <a:lnTo>
                    <a:pt x="66152" y="186453"/>
                  </a:lnTo>
                  <a:cubicBezTo>
                    <a:pt x="37681" y="186453"/>
                    <a:pt x="20934" y="170264"/>
                    <a:pt x="20934" y="142910"/>
                  </a:cubicBezTo>
                  <a:lnTo>
                    <a:pt x="20934" y="71176"/>
                  </a:lnTo>
                  <a:lnTo>
                    <a:pt x="0" y="71176"/>
                  </a:lnTo>
                  <a:lnTo>
                    <a:pt x="0" y="42985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2E2D2D5-9399-4877-9EF8-24BD62EEED5B}"/>
                </a:ext>
              </a:extLst>
            </p:cNvPr>
            <p:cNvSpPr/>
            <p:nvPr/>
          </p:nvSpPr>
          <p:spPr>
            <a:xfrm>
              <a:off x="1931933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3 w 148213"/>
                <a:gd name="connsiteY6" fmla="*/ 2233 h 147934"/>
                <a:gd name="connsiteX7" fmla="*/ 148213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5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3" y="2233"/>
                  </a:lnTo>
                  <a:lnTo>
                    <a:pt x="148213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5" y="48846"/>
                    <a:pt x="33215" y="73688"/>
                  </a:cubicBezTo>
                  <a:cubicBezTo>
                    <a:pt x="33215" y="98530"/>
                    <a:pt x="51079" y="117510"/>
                    <a:pt x="76200" y="117510"/>
                  </a:cubicBezTo>
                  <a:cubicBezTo>
                    <a:pt x="92389" y="117789"/>
                    <a:pt x="107462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4201533-9C5C-43F7-9527-626E05AEEA51}"/>
                </a:ext>
              </a:extLst>
            </p:cNvPr>
            <p:cNvSpPr/>
            <p:nvPr/>
          </p:nvSpPr>
          <p:spPr>
            <a:xfrm>
              <a:off x="2103593" y="867423"/>
              <a:ext cx="132582" cy="147934"/>
            </a:xfrm>
            <a:custGeom>
              <a:avLst/>
              <a:gdLst>
                <a:gd name="connsiteX0" fmla="*/ 0 w 132582"/>
                <a:gd name="connsiteY0" fmla="*/ 73967 h 147934"/>
                <a:gd name="connsiteX1" fmla="*/ 76200 w 132582"/>
                <a:gd name="connsiteY1" fmla="*/ 0 h 147934"/>
                <a:gd name="connsiteX2" fmla="*/ 132583 w 132582"/>
                <a:gd name="connsiteY2" fmla="*/ 23725 h 147934"/>
                <a:gd name="connsiteX3" fmla="*/ 110532 w 132582"/>
                <a:gd name="connsiteY3" fmla="*/ 45776 h 147934"/>
                <a:gd name="connsiteX4" fmla="*/ 76200 w 132582"/>
                <a:gd name="connsiteY4" fmla="*/ 30703 h 147934"/>
                <a:gd name="connsiteX5" fmla="*/ 33216 w 132582"/>
                <a:gd name="connsiteY5" fmla="*/ 73967 h 147934"/>
                <a:gd name="connsiteX6" fmla="*/ 76200 w 132582"/>
                <a:gd name="connsiteY6" fmla="*/ 117231 h 147934"/>
                <a:gd name="connsiteX7" fmla="*/ 110532 w 132582"/>
                <a:gd name="connsiteY7" fmla="*/ 102158 h 147934"/>
                <a:gd name="connsiteX8" fmla="*/ 132583 w 132582"/>
                <a:gd name="connsiteY8" fmla="*/ 124209 h 147934"/>
                <a:gd name="connsiteX9" fmla="*/ 76200 w 132582"/>
                <a:gd name="connsiteY9" fmla="*/ 147934 h 147934"/>
                <a:gd name="connsiteX10" fmla="*/ 0 w 132582"/>
                <a:gd name="connsiteY10" fmla="*/ 73967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582" h="147934">
                  <a:moveTo>
                    <a:pt x="0" y="73967"/>
                  </a:moveTo>
                  <a:cubicBezTo>
                    <a:pt x="0" y="32099"/>
                    <a:pt x="32657" y="0"/>
                    <a:pt x="76200" y="0"/>
                  </a:cubicBezTo>
                  <a:cubicBezTo>
                    <a:pt x="99925" y="0"/>
                    <a:pt x="119185" y="9490"/>
                    <a:pt x="132583" y="23725"/>
                  </a:cubicBezTo>
                  <a:lnTo>
                    <a:pt x="110532" y="45776"/>
                  </a:lnTo>
                  <a:cubicBezTo>
                    <a:pt x="102717" y="37123"/>
                    <a:pt x="91552" y="30703"/>
                    <a:pt x="76200" y="30703"/>
                  </a:cubicBezTo>
                  <a:cubicBezTo>
                    <a:pt x="51079" y="30703"/>
                    <a:pt x="33216" y="49125"/>
                    <a:pt x="33216" y="73967"/>
                  </a:cubicBezTo>
                  <a:cubicBezTo>
                    <a:pt x="33216" y="98809"/>
                    <a:pt x="51079" y="117231"/>
                    <a:pt x="76200" y="117231"/>
                  </a:cubicBezTo>
                  <a:cubicBezTo>
                    <a:pt x="91552" y="117231"/>
                    <a:pt x="102717" y="110532"/>
                    <a:pt x="110532" y="102158"/>
                  </a:cubicBezTo>
                  <a:lnTo>
                    <a:pt x="132583" y="124209"/>
                  </a:lnTo>
                  <a:cubicBezTo>
                    <a:pt x="118906" y="138444"/>
                    <a:pt x="99646" y="147934"/>
                    <a:pt x="76200" y="147934"/>
                  </a:cubicBezTo>
                  <a:cubicBezTo>
                    <a:pt x="32378" y="147934"/>
                    <a:pt x="0" y="115835"/>
                    <a:pt x="0" y="73967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AE6375F-4C1D-4877-A930-4352F1AEABF6}"/>
                </a:ext>
              </a:extLst>
            </p:cNvPr>
            <p:cNvSpPr/>
            <p:nvPr/>
          </p:nvSpPr>
          <p:spPr>
            <a:xfrm>
              <a:off x="2258505" y="809644"/>
              <a:ext cx="32657" cy="203479"/>
            </a:xfrm>
            <a:custGeom>
              <a:avLst/>
              <a:gdLst>
                <a:gd name="connsiteX0" fmla="*/ 0 w 32657"/>
                <a:gd name="connsiteY0" fmla="*/ 0 h 203479"/>
                <a:gd name="connsiteX1" fmla="*/ 32657 w 32657"/>
                <a:gd name="connsiteY1" fmla="*/ 0 h 203479"/>
                <a:gd name="connsiteX2" fmla="*/ 32657 w 32657"/>
                <a:gd name="connsiteY2" fmla="*/ 203480 h 203479"/>
                <a:gd name="connsiteX3" fmla="*/ 0 w 32657"/>
                <a:gd name="connsiteY3" fmla="*/ 203480 h 203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57" h="203479">
                  <a:moveTo>
                    <a:pt x="0" y="0"/>
                  </a:moveTo>
                  <a:lnTo>
                    <a:pt x="32657" y="0"/>
                  </a:lnTo>
                  <a:lnTo>
                    <a:pt x="32657" y="203480"/>
                  </a:lnTo>
                  <a:lnTo>
                    <a:pt x="0" y="20348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ADBEE24-EC19-41F4-9E2D-90880BD0615C}"/>
                </a:ext>
              </a:extLst>
            </p:cNvPr>
            <p:cNvSpPr/>
            <p:nvPr/>
          </p:nvSpPr>
          <p:spPr>
            <a:xfrm>
              <a:off x="2314608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4 w 148213"/>
                <a:gd name="connsiteY6" fmla="*/ 2233 h 147934"/>
                <a:gd name="connsiteX7" fmla="*/ 148214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6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4" y="2233"/>
                  </a:lnTo>
                  <a:lnTo>
                    <a:pt x="148214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6" y="48846"/>
                    <a:pt x="33216" y="73688"/>
                  </a:cubicBezTo>
                  <a:cubicBezTo>
                    <a:pt x="33216" y="98530"/>
                    <a:pt x="51079" y="117510"/>
                    <a:pt x="76200" y="117510"/>
                  </a:cubicBezTo>
                  <a:cubicBezTo>
                    <a:pt x="92668" y="117789"/>
                    <a:pt x="107741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6C7DF46-4BEF-45D3-A34C-30AADD8AF554}"/>
                </a:ext>
              </a:extLst>
            </p:cNvPr>
            <p:cNvSpPr/>
            <p:nvPr/>
          </p:nvSpPr>
          <p:spPr>
            <a:xfrm>
              <a:off x="2489897" y="807411"/>
              <a:ext cx="42984" cy="205433"/>
            </a:xfrm>
            <a:custGeom>
              <a:avLst/>
              <a:gdLst>
                <a:gd name="connsiteX0" fmla="*/ 0 w 42984"/>
                <a:gd name="connsiteY0" fmla="*/ 20934 h 205433"/>
                <a:gd name="connsiteX1" fmla="*/ 21492 w 42984"/>
                <a:gd name="connsiteY1" fmla="*/ 0 h 205433"/>
                <a:gd name="connsiteX2" fmla="*/ 42985 w 42984"/>
                <a:gd name="connsiteY2" fmla="*/ 20934 h 205433"/>
                <a:gd name="connsiteX3" fmla="*/ 37681 w 42984"/>
                <a:gd name="connsiteY3" fmla="*/ 34611 h 205433"/>
                <a:gd name="connsiteX4" fmla="*/ 5303 w 42984"/>
                <a:gd name="connsiteY4" fmla="*/ 34611 h 205433"/>
                <a:gd name="connsiteX5" fmla="*/ 0 w 42984"/>
                <a:gd name="connsiteY5" fmla="*/ 20934 h 205433"/>
                <a:gd name="connsiteX6" fmla="*/ 5303 w 42984"/>
                <a:gd name="connsiteY6" fmla="*/ 62244 h 205433"/>
                <a:gd name="connsiteX7" fmla="*/ 37960 w 42984"/>
                <a:gd name="connsiteY7" fmla="*/ 62244 h 205433"/>
                <a:gd name="connsiteX8" fmla="*/ 37960 w 42984"/>
                <a:gd name="connsiteY8" fmla="*/ 205433 h 205433"/>
                <a:gd name="connsiteX9" fmla="*/ 5582 w 42984"/>
                <a:gd name="connsiteY9" fmla="*/ 205433 h 205433"/>
                <a:gd name="connsiteX10" fmla="*/ 5582 w 42984"/>
                <a:gd name="connsiteY10" fmla="*/ 62244 h 20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984" h="205433">
                  <a:moveTo>
                    <a:pt x="0" y="20934"/>
                  </a:moveTo>
                  <a:cubicBezTo>
                    <a:pt x="0" y="9490"/>
                    <a:pt x="9769" y="0"/>
                    <a:pt x="21492" y="0"/>
                  </a:cubicBezTo>
                  <a:cubicBezTo>
                    <a:pt x="33215" y="0"/>
                    <a:pt x="42985" y="9490"/>
                    <a:pt x="42985" y="20934"/>
                  </a:cubicBezTo>
                  <a:cubicBezTo>
                    <a:pt x="42985" y="25679"/>
                    <a:pt x="41310" y="30703"/>
                    <a:pt x="37681" y="34611"/>
                  </a:cubicBezTo>
                  <a:lnTo>
                    <a:pt x="5303" y="34611"/>
                  </a:lnTo>
                  <a:cubicBezTo>
                    <a:pt x="2233" y="30982"/>
                    <a:pt x="0" y="26237"/>
                    <a:pt x="0" y="20934"/>
                  </a:cubicBezTo>
                  <a:moveTo>
                    <a:pt x="5303" y="62244"/>
                  </a:moveTo>
                  <a:lnTo>
                    <a:pt x="37960" y="62244"/>
                  </a:lnTo>
                  <a:lnTo>
                    <a:pt x="37960" y="205433"/>
                  </a:lnTo>
                  <a:lnTo>
                    <a:pt x="5582" y="205433"/>
                  </a:lnTo>
                  <a:lnTo>
                    <a:pt x="5582" y="62244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598B21-E4E9-4467-8BCB-AF84E4DF3938}"/>
                </a:ext>
              </a:extLst>
            </p:cNvPr>
            <p:cNvSpPr/>
            <p:nvPr/>
          </p:nvSpPr>
          <p:spPr>
            <a:xfrm>
              <a:off x="2560235" y="867423"/>
              <a:ext cx="81503" cy="145422"/>
            </a:xfrm>
            <a:custGeom>
              <a:avLst/>
              <a:gdLst>
                <a:gd name="connsiteX0" fmla="*/ 0 w 81503"/>
                <a:gd name="connsiteY0" fmla="*/ 2233 h 145422"/>
                <a:gd name="connsiteX1" fmla="*/ 32657 w 81503"/>
                <a:gd name="connsiteY1" fmla="*/ 2233 h 145422"/>
                <a:gd name="connsiteX2" fmla="*/ 32657 w 81503"/>
                <a:gd name="connsiteY2" fmla="*/ 16189 h 145422"/>
                <a:gd name="connsiteX3" fmla="*/ 70897 w 81503"/>
                <a:gd name="connsiteY3" fmla="*/ 0 h 145422"/>
                <a:gd name="connsiteX4" fmla="*/ 81504 w 81503"/>
                <a:gd name="connsiteY4" fmla="*/ 837 h 145422"/>
                <a:gd name="connsiteX5" fmla="*/ 81504 w 81503"/>
                <a:gd name="connsiteY5" fmla="*/ 33774 h 145422"/>
                <a:gd name="connsiteX6" fmla="*/ 65314 w 81503"/>
                <a:gd name="connsiteY6" fmla="*/ 31820 h 145422"/>
                <a:gd name="connsiteX7" fmla="*/ 32657 w 81503"/>
                <a:gd name="connsiteY7" fmla="*/ 49125 h 145422"/>
                <a:gd name="connsiteX8" fmla="*/ 32657 w 81503"/>
                <a:gd name="connsiteY8" fmla="*/ 145422 h 145422"/>
                <a:gd name="connsiteX9" fmla="*/ 0 w 81503"/>
                <a:gd name="connsiteY9" fmla="*/ 145422 h 145422"/>
                <a:gd name="connsiteX10" fmla="*/ 0 w 81503"/>
                <a:gd name="connsiteY10" fmla="*/ 2233 h 14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503" h="145422">
                  <a:moveTo>
                    <a:pt x="0" y="2233"/>
                  </a:moveTo>
                  <a:lnTo>
                    <a:pt x="32657" y="2233"/>
                  </a:lnTo>
                  <a:lnTo>
                    <a:pt x="32657" y="16189"/>
                  </a:lnTo>
                  <a:cubicBezTo>
                    <a:pt x="42147" y="5303"/>
                    <a:pt x="54708" y="0"/>
                    <a:pt x="70897" y="0"/>
                  </a:cubicBezTo>
                  <a:cubicBezTo>
                    <a:pt x="74805" y="0"/>
                    <a:pt x="78433" y="279"/>
                    <a:pt x="81504" y="837"/>
                  </a:cubicBezTo>
                  <a:lnTo>
                    <a:pt x="81504" y="33774"/>
                  </a:lnTo>
                  <a:cubicBezTo>
                    <a:pt x="77038" y="32378"/>
                    <a:pt x="71455" y="31820"/>
                    <a:pt x="65314" y="31820"/>
                  </a:cubicBezTo>
                  <a:cubicBezTo>
                    <a:pt x="51358" y="31820"/>
                    <a:pt x="39356" y="36844"/>
                    <a:pt x="32657" y="49125"/>
                  </a:cubicBezTo>
                  <a:lnTo>
                    <a:pt x="32657" y="145422"/>
                  </a:lnTo>
                  <a:lnTo>
                    <a:pt x="0" y="145422"/>
                  </a:lnTo>
                  <a:lnTo>
                    <a:pt x="0" y="2233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36CE729-FDFD-4153-B03C-102B988B8DF3}"/>
                </a:ext>
              </a:extLst>
            </p:cNvPr>
            <p:cNvSpPr/>
            <p:nvPr/>
          </p:nvSpPr>
          <p:spPr>
            <a:xfrm>
              <a:off x="2636156" y="965952"/>
              <a:ext cx="51079" cy="49404"/>
            </a:xfrm>
            <a:custGeom>
              <a:avLst/>
              <a:gdLst>
                <a:gd name="connsiteX0" fmla="*/ 0 w 51079"/>
                <a:gd name="connsiteY0" fmla="*/ 24563 h 49404"/>
                <a:gd name="connsiteX1" fmla="*/ 25679 w 51079"/>
                <a:gd name="connsiteY1" fmla="*/ 0 h 49404"/>
                <a:gd name="connsiteX2" fmla="*/ 51079 w 51079"/>
                <a:gd name="connsiteY2" fmla="*/ 24563 h 49404"/>
                <a:gd name="connsiteX3" fmla="*/ 25679 w 51079"/>
                <a:gd name="connsiteY3" fmla="*/ 49405 h 49404"/>
                <a:gd name="connsiteX4" fmla="*/ 0 w 51079"/>
                <a:gd name="connsiteY4" fmla="*/ 24563 h 4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79" h="49404">
                  <a:moveTo>
                    <a:pt x="0" y="24563"/>
                  </a:moveTo>
                  <a:cubicBezTo>
                    <a:pt x="0" y="11165"/>
                    <a:pt x="11444" y="0"/>
                    <a:pt x="25679" y="0"/>
                  </a:cubicBezTo>
                  <a:cubicBezTo>
                    <a:pt x="39914" y="0"/>
                    <a:pt x="51079" y="11165"/>
                    <a:pt x="51079" y="24563"/>
                  </a:cubicBezTo>
                  <a:cubicBezTo>
                    <a:pt x="51079" y="38240"/>
                    <a:pt x="39914" y="49405"/>
                    <a:pt x="25679" y="49405"/>
                  </a:cubicBezTo>
                  <a:cubicBezTo>
                    <a:pt x="11444" y="49405"/>
                    <a:pt x="0" y="38240"/>
                    <a:pt x="0" y="24563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D33E801-5011-42CB-9DA1-392BCF192E5B}"/>
                </a:ext>
              </a:extLst>
            </p:cNvPr>
            <p:cNvSpPr/>
            <p:nvPr/>
          </p:nvSpPr>
          <p:spPr>
            <a:xfrm>
              <a:off x="2702866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3 w 148213"/>
                <a:gd name="connsiteY6" fmla="*/ 2233 h 147934"/>
                <a:gd name="connsiteX7" fmla="*/ 148213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5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3" y="2233"/>
                  </a:lnTo>
                  <a:lnTo>
                    <a:pt x="148213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5" y="48846"/>
                    <a:pt x="33215" y="73688"/>
                  </a:cubicBezTo>
                  <a:cubicBezTo>
                    <a:pt x="33215" y="98530"/>
                    <a:pt x="51079" y="117510"/>
                    <a:pt x="76200" y="117510"/>
                  </a:cubicBezTo>
                  <a:cubicBezTo>
                    <a:pt x="92389" y="117789"/>
                    <a:pt x="107462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70BFA5D-26A9-4EC3-A96D-F0951DDE3FBA}"/>
                </a:ext>
              </a:extLst>
            </p:cNvPr>
            <p:cNvSpPr/>
            <p:nvPr/>
          </p:nvSpPr>
          <p:spPr>
            <a:xfrm>
              <a:off x="2878155" y="807411"/>
              <a:ext cx="42984" cy="205433"/>
            </a:xfrm>
            <a:custGeom>
              <a:avLst/>
              <a:gdLst>
                <a:gd name="connsiteX0" fmla="*/ 0 w 42984"/>
                <a:gd name="connsiteY0" fmla="*/ 20934 h 205433"/>
                <a:gd name="connsiteX1" fmla="*/ 21492 w 42984"/>
                <a:gd name="connsiteY1" fmla="*/ 0 h 205433"/>
                <a:gd name="connsiteX2" fmla="*/ 42985 w 42984"/>
                <a:gd name="connsiteY2" fmla="*/ 20934 h 205433"/>
                <a:gd name="connsiteX3" fmla="*/ 37681 w 42984"/>
                <a:gd name="connsiteY3" fmla="*/ 34611 h 205433"/>
                <a:gd name="connsiteX4" fmla="*/ 5303 w 42984"/>
                <a:gd name="connsiteY4" fmla="*/ 34611 h 205433"/>
                <a:gd name="connsiteX5" fmla="*/ 0 w 42984"/>
                <a:gd name="connsiteY5" fmla="*/ 20934 h 205433"/>
                <a:gd name="connsiteX6" fmla="*/ 5303 w 42984"/>
                <a:gd name="connsiteY6" fmla="*/ 62244 h 205433"/>
                <a:gd name="connsiteX7" fmla="*/ 37960 w 42984"/>
                <a:gd name="connsiteY7" fmla="*/ 62244 h 205433"/>
                <a:gd name="connsiteX8" fmla="*/ 37960 w 42984"/>
                <a:gd name="connsiteY8" fmla="*/ 205433 h 205433"/>
                <a:gd name="connsiteX9" fmla="*/ 5303 w 42984"/>
                <a:gd name="connsiteY9" fmla="*/ 205433 h 205433"/>
                <a:gd name="connsiteX10" fmla="*/ 5303 w 42984"/>
                <a:gd name="connsiteY10" fmla="*/ 62244 h 20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984" h="205433">
                  <a:moveTo>
                    <a:pt x="0" y="20934"/>
                  </a:moveTo>
                  <a:cubicBezTo>
                    <a:pt x="0" y="9490"/>
                    <a:pt x="9769" y="0"/>
                    <a:pt x="21492" y="0"/>
                  </a:cubicBezTo>
                  <a:cubicBezTo>
                    <a:pt x="33216" y="0"/>
                    <a:pt x="42985" y="9490"/>
                    <a:pt x="42985" y="20934"/>
                  </a:cubicBezTo>
                  <a:cubicBezTo>
                    <a:pt x="42985" y="25679"/>
                    <a:pt x="41310" y="30703"/>
                    <a:pt x="37681" y="34611"/>
                  </a:cubicBezTo>
                  <a:lnTo>
                    <a:pt x="5303" y="34611"/>
                  </a:lnTo>
                  <a:cubicBezTo>
                    <a:pt x="1954" y="30982"/>
                    <a:pt x="0" y="26237"/>
                    <a:pt x="0" y="20934"/>
                  </a:cubicBezTo>
                  <a:moveTo>
                    <a:pt x="5303" y="62244"/>
                  </a:moveTo>
                  <a:lnTo>
                    <a:pt x="37960" y="62244"/>
                  </a:lnTo>
                  <a:lnTo>
                    <a:pt x="37960" y="205433"/>
                  </a:lnTo>
                  <a:lnTo>
                    <a:pt x="5303" y="205433"/>
                  </a:lnTo>
                  <a:lnTo>
                    <a:pt x="5303" y="62244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DAF82A8-797C-4075-B0C7-026744FB84B6}"/>
                </a:ext>
              </a:extLst>
            </p:cNvPr>
            <p:cNvSpPr/>
            <p:nvPr/>
          </p:nvSpPr>
          <p:spPr>
            <a:xfrm>
              <a:off x="1499574" y="1127006"/>
              <a:ext cx="81503" cy="85969"/>
            </a:xfrm>
            <a:custGeom>
              <a:avLst/>
              <a:gdLst>
                <a:gd name="connsiteX0" fmla="*/ 40752 w 81503"/>
                <a:gd name="connsiteY0" fmla="*/ 72572 h 85969"/>
                <a:gd name="connsiteX1" fmla="*/ 63919 w 81503"/>
                <a:gd name="connsiteY1" fmla="*/ 42426 h 85969"/>
                <a:gd name="connsiteX2" fmla="*/ 40752 w 81503"/>
                <a:gd name="connsiteY2" fmla="*/ 12840 h 85969"/>
                <a:gd name="connsiteX3" fmla="*/ 17585 w 81503"/>
                <a:gd name="connsiteY3" fmla="*/ 42426 h 85969"/>
                <a:gd name="connsiteX4" fmla="*/ 40752 w 81503"/>
                <a:gd name="connsiteY4" fmla="*/ 72572 h 85969"/>
                <a:gd name="connsiteX5" fmla="*/ 40752 w 81503"/>
                <a:gd name="connsiteY5" fmla="*/ 0 h 85969"/>
                <a:gd name="connsiteX6" fmla="*/ 81503 w 81503"/>
                <a:gd name="connsiteY6" fmla="*/ 42706 h 85969"/>
                <a:gd name="connsiteX7" fmla="*/ 40752 w 81503"/>
                <a:gd name="connsiteY7" fmla="*/ 85969 h 85969"/>
                <a:gd name="connsiteX8" fmla="*/ 0 w 81503"/>
                <a:gd name="connsiteY8" fmla="*/ 42706 h 85969"/>
                <a:gd name="connsiteX9" fmla="*/ 40752 w 81503"/>
                <a:gd name="connsiteY9" fmla="*/ 0 h 8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03" h="85969">
                  <a:moveTo>
                    <a:pt x="40752" y="72572"/>
                  </a:moveTo>
                  <a:cubicBezTo>
                    <a:pt x="57778" y="72572"/>
                    <a:pt x="63919" y="57499"/>
                    <a:pt x="63919" y="42426"/>
                  </a:cubicBezTo>
                  <a:cubicBezTo>
                    <a:pt x="63919" y="27912"/>
                    <a:pt x="57220" y="12840"/>
                    <a:pt x="40752" y="12840"/>
                  </a:cubicBezTo>
                  <a:cubicBezTo>
                    <a:pt x="24284" y="12840"/>
                    <a:pt x="17585" y="27912"/>
                    <a:pt x="17585" y="42426"/>
                  </a:cubicBezTo>
                  <a:cubicBezTo>
                    <a:pt x="17305" y="57499"/>
                    <a:pt x="23725" y="72572"/>
                    <a:pt x="40752" y="72572"/>
                  </a:cubicBezTo>
                  <a:moveTo>
                    <a:pt x="40752" y="0"/>
                  </a:moveTo>
                  <a:cubicBezTo>
                    <a:pt x="66710" y="0"/>
                    <a:pt x="81503" y="17585"/>
                    <a:pt x="81503" y="42706"/>
                  </a:cubicBezTo>
                  <a:cubicBezTo>
                    <a:pt x="81503" y="67827"/>
                    <a:pt x="66989" y="85969"/>
                    <a:pt x="40752" y="85969"/>
                  </a:cubicBezTo>
                  <a:cubicBezTo>
                    <a:pt x="14235" y="85969"/>
                    <a:pt x="0" y="68385"/>
                    <a:pt x="0" y="42706"/>
                  </a:cubicBezTo>
                  <a:cubicBezTo>
                    <a:pt x="0" y="17026"/>
                    <a:pt x="14235" y="0"/>
                    <a:pt x="40752" y="0"/>
                  </a:cubicBez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0EEDFED-6DCD-4B50-8540-74AB49A9E430}"/>
                </a:ext>
              </a:extLst>
            </p:cNvPr>
            <p:cNvSpPr/>
            <p:nvPr/>
          </p:nvSpPr>
          <p:spPr>
            <a:xfrm>
              <a:off x="1591126" y="1127006"/>
              <a:ext cx="54707" cy="84573"/>
            </a:xfrm>
            <a:custGeom>
              <a:avLst/>
              <a:gdLst>
                <a:gd name="connsiteX0" fmla="*/ 0 w 54707"/>
                <a:gd name="connsiteY0" fmla="*/ 84295 h 84573"/>
                <a:gd name="connsiteX1" fmla="*/ 0 w 54707"/>
                <a:gd name="connsiteY1" fmla="*/ 70339 h 84573"/>
                <a:gd name="connsiteX2" fmla="*/ 36007 w 54707"/>
                <a:gd name="connsiteY2" fmla="*/ 24004 h 84573"/>
                <a:gd name="connsiteX3" fmla="*/ 22330 w 54707"/>
                <a:gd name="connsiteY3" fmla="*/ 12840 h 84573"/>
                <a:gd name="connsiteX4" fmla="*/ 3070 w 54707"/>
                <a:gd name="connsiteY4" fmla="*/ 19539 h 84573"/>
                <a:gd name="connsiteX5" fmla="*/ 1675 w 54707"/>
                <a:gd name="connsiteY5" fmla="*/ 5862 h 84573"/>
                <a:gd name="connsiteX6" fmla="*/ 26237 w 54707"/>
                <a:gd name="connsiteY6" fmla="*/ 0 h 84573"/>
                <a:gd name="connsiteX7" fmla="*/ 52196 w 54707"/>
                <a:gd name="connsiteY7" fmla="*/ 24284 h 84573"/>
                <a:gd name="connsiteX8" fmla="*/ 20934 w 54707"/>
                <a:gd name="connsiteY8" fmla="*/ 71455 h 84573"/>
                <a:gd name="connsiteX9" fmla="*/ 54708 w 54707"/>
                <a:gd name="connsiteY9" fmla="*/ 71455 h 84573"/>
                <a:gd name="connsiteX10" fmla="*/ 54708 w 54707"/>
                <a:gd name="connsiteY10" fmla="*/ 84574 h 84573"/>
                <a:gd name="connsiteX11" fmla="*/ 0 w 54707"/>
                <a:gd name="connsiteY11" fmla="*/ 84574 h 84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707" h="84573">
                  <a:moveTo>
                    <a:pt x="0" y="84295"/>
                  </a:moveTo>
                  <a:lnTo>
                    <a:pt x="0" y="70339"/>
                  </a:lnTo>
                  <a:cubicBezTo>
                    <a:pt x="7815" y="62802"/>
                    <a:pt x="36007" y="39356"/>
                    <a:pt x="36007" y="24004"/>
                  </a:cubicBezTo>
                  <a:cubicBezTo>
                    <a:pt x="36007" y="16468"/>
                    <a:pt x="29308" y="12840"/>
                    <a:pt x="22330" y="12840"/>
                  </a:cubicBezTo>
                  <a:cubicBezTo>
                    <a:pt x="15352" y="12840"/>
                    <a:pt x="8653" y="15910"/>
                    <a:pt x="3070" y="19539"/>
                  </a:cubicBezTo>
                  <a:lnTo>
                    <a:pt x="1675" y="5862"/>
                  </a:lnTo>
                  <a:cubicBezTo>
                    <a:pt x="9211" y="1954"/>
                    <a:pt x="17864" y="0"/>
                    <a:pt x="26237" y="0"/>
                  </a:cubicBezTo>
                  <a:cubicBezTo>
                    <a:pt x="42147" y="0"/>
                    <a:pt x="52196" y="8095"/>
                    <a:pt x="52196" y="24284"/>
                  </a:cubicBezTo>
                  <a:cubicBezTo>
                    <a:pt x="52196" y="41868"/>
                    <a:pt x="34611" y="58057"/>
                    <a:pt x="20934" y="71455"/>
                  </a:cubicBezTo>
                  <a:lnTo>
                    <a:pt x="54708" y="71455"/>
                  </a:lnTo>
                  <a:lnTo>
                    <a:pt x="54708" y="84574"/>
                  </a:lnTo>
                  <a:lnTo>
                    <a:pt x="0" y="84574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470D642-DEB1-41CD-AB6F-C9105C9337AC}"/>
                </a:ext>
              </a:extLst>
            </p:cNvPr>
            <p:cNvSpPr/>
            <p:nvPr/>
          </p:nvSpPr>
          <p:spPr>
            <a:xfrm>
              <a:off x="1691051" y="1126726"/>
              <a:ext cx="64476" cy="85969"/>
            </a:xfrm>
            <a:custGeom>
              <a:avLst/>
              <a:gdLst>
                <a:gd name="connsiteX0" fmla="*/ 64477 w 64476"/>
                <a:gd name="connsiteY0" fmla="*/ 83457 h 85969"/>
                <a:gd name="connsiteX1" fmla="*/ 45497 w 64476"/>
                <a:gd name="connsiteY1" fmla="*/ 85969 h 85969"/>
                <a:gd name="connsiteX2" fmla="*/ 0 w 64476"/>
                <a:gd name="connsiteY2" fmla="*/ 44380 h 85969"/>
                <a:gd name="connsiteX3" fmla="*/ 45497 w 64476"/>
                <a:gd name="connsiteY3" fmla="*/ 0 h 85969"/>
                <a:gd name="connsiteX4" fmla="*/ 64198 w 64476"/>
                <a:gd name="connsiteY4" fmla="*/ 3349 h 85969"/>
                <a:gd name="connsiteX5" fmla="*/ 63081 w 64476"/>
                <a:gd name="connsiteY5" fmla="*/ 17306 h 85969"/>
                <a:gd name="connsiteX6" fmla="*/ 45218 w 64476"/>
                <a:gd name="connsiteY6" fmla="*/ 12840 h 85969"/>
                <a:gd name="connsiteX7" fmla="*/ 17305 w 64476"/>
                <a:gd name="connsiteY7" fmla="*/ 42985 h 85969"/>
                <a:gd name="connsiteX8" fmla="*/ 45497 w 64476"/>
                <a:gd name="connsiteY8" fmla="*/ 72572 h 85969"/>
                <a:gd name="connsiteX9" fmla="*/ 63640 w 64476"/>
                <a:gd name="connsiteY9" fmla="*/ 69222 h 85969"/>
                <a:gd name="connsiteX10" fmla="*/ 64477 w 64476"/>
                <a:gd name="connsiteY10" fmla="*/ 83457 h 8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4476" h="85969">
                  <a:moveTo>
                    <a:pt x="64477" y="83457"/>
                  </a:moveTo>
                  <a:cubicBezTo>
                    <a:pt x="58336" y="84853"/>
                    <a:pt x="51917" y="85969"/>
                    <a:pt x="45497" y="85969"/>
                  </a:cubicBezTo>
                  <a:cubicBezTo>
                    <a:pt x="18701" y="85969"/>
                    <a:pt x="0" y="72572"/>
                    <a:pt x="0" y="44380"/>
                  </a:cubicBezTo>
                  <a:cubicBezTo>
                    <a:pt x="0" y="15910"/>
                    <a:pt x="17305" y="0"/>
                    <a:pt x="45497" y="0"/>
                  </a:cubicBezTo>
                  <a:cubicBezTo>
                    <a:pt x="51079" y="0"/>
                    <a:pt x="58336" y="1116"/>
                    <a:pt x="64198" y="3349"/>
                  </a:cubicBezTo>
                  <a:lnTo>
                    <a:pt x="63081" y="17306"/>
                  </a:lnTo>
                  <a:cubicBezTo>
                    <a:pt x="56662" y="13677"/>
                    <a:pt x="51079" y="12840"/>
                    <a:pt x="45218" y="12840"/>
                  </a:cubicBezTo>
                  <a:cubicBezTo>
                    <a:pt x="28191" y="12840"/>
                    <a:pt x="17305" y="25958"/>
                    <a:pt x="17305" y="42985"/>
                  </a:cubicBezTo>
                  <a:cubicBezTo>
                    <a:pt x="17305" y="59732"/>
                    <a:pt x="27633" y="72572"/>
                    <a:pt x="45497" y="72572"/>
                  </a:cubicBezTo>
                  <a:cubicBezTo>
                    <a:pt x="51917" y="72572"/>
                    <a:pt x="59732" y="71176"/>
                    <a:pt x="63640" y="69222"/>
                  </a:cubicBezTo>
                  <a:lnTo>
                    <a:pt x="64477" y="83457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11742D0-ECB9-4539-AA1F-D3784B443285}"/>
                </a:ext>
              </a:extLst>
            </p:cNvPr>
            <p:cNvSpPr/>
            <p:nvPr/>
          </p:nvSpPr>
          <p:spPr>
            <a:xfrm>
              <a:off x="1762227" y="1150173"/>
              <a:ext cx="51079" cy="61127"/>
            </a:xfrm>
            <a:custGeom>
              <a:avLst/>
              <a:gdLst>
                <a:gd name="connsiteX0" fmla="*/ 1396 w 51079"/>
                <a:gd name="connsiteY0" fmla="*/ 0 h 61127"/>
                <a:gd name="connsiteX1" fmla="*/ 49963 w 51079"/>
                <a:gd name="connsiteY1" fmla="*/ 0 h 61127"/>
                <a:gd name="connsiteX2" fmla="*/ 49963 w 51079"/>
                <a:gd name="connsiteY2" fmla="*/ 12840 h 61127"/>
                <a:gd name="connsiteX3" fmla="*/ 19539 w 51079"/>
                <a:gd name="connsiteY3" fmla="*/ 48846 h 61127"/>
                <a:gd name="connsiteX4" fmla="*/ 51079 w 51079"/>
                <a:gd name="connsiteY4" fmla="*/ 48846 h 61127"/>
                <a:gd name="connsiteX5" fmla="*/ 51079 w 51079"/>
                <a:gd name="connsiteY5" fmla="*/ 61128 h 61127"/>
                <a:gd name="connsiteX6" fmla="*/ 0 w 51079"/>
                <a:gd name="connsiteY6" fmla="*/ 61128 h 61127"/>
                <a:gd name="connsiteX7" fmla="*/ 0 w 51079"/>
                <a:gd name="connsiteY7" fmla="*/ 48288 h 61127"/>
                <a:gd name="connsiteX8" fmla="*/ 30982 w 51079"/>
                <a:gd name="connsiteY8" fmla="*/ 12281 h 61127"/>
                <a:gd name="connsiteX9" fmla="*/ 1396 w 51079"/>
                <a:gd name="connsiteY9" fmla="*/ 12281 h 61127"/>
                <a:gd name="connsiteX10" fmla="*/ 1396 w 51079"/>
                <a:gd name="connsiteY10" fmla="*/ 0 h 6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079" h="61127">
                  <a:moveTo>
                    <a:pt x="1396" y="0"/>
                  </a:moveTo>
                  <a:lnTo>
                    <a:pt x="49963" y="0"/>
                  </a:lnTo>
                  <a:lnTo>
                    <a:pt x="49963" y="12840"/>
                  </a:lnTo>
                  <a:lnTo>
                    <a:pt x="19539" y="48846"/>
                  </a:lnTo>
                  <a:lnTo>
                    <a:pt x="51079" y="48846"/>
                  </a:lnTo>
                  <a:lnTo>
                    <a:pt x="51079" y="61128"/>
                  </a:lnTo>
                  <a:lnTo>
                    <a:pt x="0" y="61128"/>
                  </a:lnTo>
                  <a:lnTo>
                    <a:pt x="0" y="48288"/>
                  </a:lnTo>
                  <a:lnTo>
                    <a:pt x="30982" y="12281"/>
                  </a:lnTo>
                  <a:lnTo>
                    <a:pt x="1396" y="12281"/>
                  </a:lnTo>
                  <a:lnTo>
                    <a:pt x="1396" y="0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2E621ED-8B44-4E3D-8F3C-96C35E2EE76B}"/>
                </a:ext>
              </a:extLst>
            </p:cNvPr>
            <p:cNvSpPr/>
            <p:nvPr/>
          </p:nvSpPr>
          <p:spPr>
            <a:xfrm>
              <a:off x="1821680" y="1148498"/>
              <a:ext cx="57499" cy="64197"/>
            </a:xfrm>
            <a:custGeom>
              <a:avLst/>
              <a:gdLst>
                <a:gd name="connsiteX0" fmla="*/ 42426 w 57499"/>
                <a:gd name="connsiteY0" fmla="*/ 26237 h 64197"/>
                <a:gd name="connsiteX1" fmla="*/ 29587 w 57499"/>
                <a:gd name="connsiteY1" fmla="*/ 12002 h 64197"/>
                <a:gd name="connsiteX2" fmla="*/ 15352 w 57499"/>
                <a:gd name="connsiteY2" fmla="*/ 26237 h 64197"/>
                <a:gd name="connsiteX3" fmla="*/ 42426 w 57499"/>
                <a:gd name="connsiteY3" fmla="*/ 26237 h 64197"/>
                <a:gd name="connsiteX4" fmla="*/ 53033 w 57499"/>
                <a:gd name="connsiteY4" fmla="*/ 59453 h 64197"/>
                <a:gd name="connsiteX5" fmla="*/ 32099 w 57499"/>
                <a:gd name="connsiteY5" fmla="*/ 64198 h 64197"/>
                <a:gd name="connsiteX6" fmla="*/ 0 w 57499"/>
                <a:gd name="connsiteY6" fmla="*/ 32378 h 64197"/>
                <a:gd name="connsiteX7" fmla="*/ 28470 w 57499"/>
                <a:gd name="connsiteY7" fmla="*/ 0 h 64197"/>
                <a:gd name="connsiteX8" fmla="*/ 57499 w 57499"/>
                <a:gd name="connsiteY8" fmla="*/ 36844 h 64197"/>
                <a:gd name="connsiteX9" fmla="*/ 15073 w 57499"/>
                <a:gd name="connsiteY9" fmla="*/ 36844 h 64197"/>
                <a:gd name="connsiteX10" fmla="*/ 32657 w 57499"/>
                <a:gd name="connsiteY10" fmla="*/ 52196 h 64197"/>
                <a:gd name="connsiteX11" fmla="*/ 53033 w 57499"/>
                <a:gd name="connsiteY11" fmla="*/ 46055 h 64197"/>
                <a:gd name="connsiteX12" fmla="*/ 53033 w 57499"/>
                <a:gd name="connsiteY12" fmla="*/ 5945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499" h="64197">
                  <a:moveTo>
                    <a:pt x="42426" y="26237"/>
                  </a:moveTo>
                  <a:cubicBezTo>
                    <a:pt x="41868" y="18422"/>
                    <a:pt x="38240" y="12002"/>
                    <a:pt x="29587" y="12002"/>
                  </a:cubicBezTo>
                  <a:cubicBezTo>
                    <a:pt x="20655" y="12002"/>
                    <a:pt x="16189" y="18143"/>
                    <a:pt x="15352" y="26237"/>
                  </a:cubicBezTo>
                  <a:lnTo>
                    <a:pt x="42426" y="26237"/>
                  </a:lnTo>
                  <a:moveTo>
                    <a:pt x="53033" y="59453"/>
                  </a:moveTo>
                  <a:cubicBezTo>
                    <a:pt x="47172" y="62802"/>
                    <a:pt x="40473" y="64198"/>
                    <a:pt x="32099" y="64198"/>
                  </a:cubicBezTo>
                  <a:cubicBezTo>
                    <a:pt x="12002" y="64198"/>
                    <a:pt x="0" y="52475"/>
                    <a:pt x="0" y="32378"/>
                  </a:cubicBezTo>
                  <a:cubicBezTo>
                    <a:pt x="0" y="14793"/>
                    <a:pt x="9490" y="0"/>
                    <a:pt x="28470" y="0"/>
                  </a:cubicBezTo>
                  <a:cubicBezTo>
                    <a:pt x="51079" y="0"/>
                    <a:pt x="57499" y="15631"/>
                    <a:pt x="57499" y="36844"/>
                  </a:cubicBezTo>
                  <a:lnTo>
                    <a:pt x="15073" y="36844"/>
                  </a:lnTo>
                  <a:cubicBezTo>
                    <a:pt x="15910" y="46613"/>
                    <a:pt x="22609" y="52196"/>
                    <a:pt x="32657" y="52196"/>
                  </a:cubicBezTo>
                  <a:cubicBezTo>
                    <a:pt x="40473" y="52196"/>
                    <a:pt x="47172" y="49405"/>
                    <a:pt x="53033" y="46055"/>
                  </a:cubicBezTo>
                  <a:lnTo>
                    <a:pt x="53033" y="59453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A630F19-3EB0-439B-A96E-2D75265E4230}"/>
                </a:ext>
              </a:extLst>
            </p:cNvPr>
            <p:cNvSpPr/>
            <p:nvPr/>
          </p:nvSpPr>
          <p:spPr>
            <a:xfrm>
              <a:off x="1887832" y="1148498"/>
              <a:ext cx="46055" cy="64197"/>
            </a:xfrm>
            <a:custGeom>
              <a:avLst/>
              <a:gdLst>
                <a:gd name="connsiteX0" fmla="*/ 43543 w 46055"/>
                <a:gd name="connsiteY0" fmla="*/ 14793 h 64197"/>
                <a:gd name="connsiteX1" fmla="*/ 32657 w 46055"/>
                <a:gd name="connsiteY1" fmla="*/ 12560 h 64197"/>
                <a:gd name="connsiteX2" fmla="*/ 16468 w 46055"/>
                <a:gd name="connsiteY2" fmla="*/ 31820 h 64197"/>
                <a:gd name="connsiteX3" fmla="*/ 32936 w 46055"/>
                <a:gd name="connsiteY3" fmla="*/ 51917 h 64197"/>
                <a:gd name="connsiteX4" fmla="*/ 45218 w 46055"/>
                <a:gd name="connsiteY4" fmla="*/ 49125 h 64197"/>
                <a:gd name="connsiteX5" fmla="*/ 46055 w 46055"/>
                <a:gd name="connsiteY5" fmla="*/ 62244 h 64197"/>
                <a:gd name="connsiteX6" fmla="*/ 30145 w 46055"/>
                <a:gd name="connsiteY6" fmla="*/ 64198 h 64197"/>
                <a:gd name="connsiteX7" fmla="*/ 0 w 46055"/>
                <a:gd name="connsiteY7" fmla="*/ 31820 h 64197"/>
                <a:gd name="connsiteX8" fmla="*/ 29587 w 46055"/>
                <a:gd name="connsiteY8" fmla="*/ 0 h 64197"/>
                <a:gd name="connsiteX9" fmla="*/ 44938 w 46055"/>
                <a:gd name="connsiteY9" fmla="*/ 1954 h 64197"/>
                <a:gd name="connsiteX10" fmla="*/ 43543 w 46055"/>
                <a:gd name="connsiteY10" fmla="*/ 1479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55" h="64197">
                  <a:moveTo>
                    <a:pt x="43543" y="14793"/>
                  </a:moveTo>
                  <a:cubicBezTo>
                    <a:pt x="40752" y="13398"/>
                    <a:pt x="37681" y="12560"/>
                    <a:pt x="32657" y="12560"/>
                  </a:cubicBezTo>
                  <a:cubicBezTo>
                    <a:pt x="22888" y="12560"/>
                    <a:pt x="16468" y="20376"/>
                    <a:pt x="16468" y="31820"/>
                  </a:cubicBezTo>
                  <a:cubicBezTo>
                    <a:pt x="16468" y="43264"/>
                    <a:pt x="21771" y="51917"/>
                    <a:pt x="32936" y="51917"/>
                  </a:cubicBezTo>
                  <a:cubicBezTo>
                    <a:pt x="37402" y="51917"/>
                    <a:pt x="42426" y="50242"/>
                    <a:pt x="45218" y="49125"/>
                  </a:cubicBezTo>
                  <a:lnTo>
                    <a:pt x="46055" y="62244"/>
                  </a:lnTo>
                  <a:cubicBezTo>
                    <a:pt x="41310" y="63640"/>
                    <a:pt x="36565" y="64198"/>
                    <a:pt x="30145" y="64198"/>
                  </a:cubicBezTo>
                  <a:cubicBezTo>
                    <a:pt x="10048" y="64198"/>
                    <a:pt x="0" y="50521"/>
                    <a:pt x="0" y="31820"/>
                  </a:cubicBezTo>
                  <a:cubicBezTo>
                    <a:pt x="0" y="14235"/>
                    <a:pt x="10327" y="0"/>
                    <a:pt x="29587" y="0"/>
                  </a:cubicBezTo>
                  <a:cubicBezTo>
                    <a:pt x="36007" y="0"/>
                    <a:pt x="40752" y="837"/>
                    <a:pt x="44938" y="1954"/>
                  </a:cubicBezTo>
                  <a:lnTo>
                    <a:pt x="43543" y="14793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4E0BA9B8-3A3E-4C3D-8F45-E28AC9005BE2}"/>
                </a:ext>
              </a:extLst>
            </p:cNvPr>
            <p:cNvSpPr/>
            <p:nvPr/>
          </p:nvSpPr>
          <p:spPr>
            <a:xfrm>
              <a:off x="1944493" y="1122261"/>
              <a:ext cx="56382" cy="89039"/>
            </a:xfrm>
            <a:custGeom>
              <a:avLst/>
              <a:gdLst>
                <a:gd name="connsiteX0" fmla="*/ 0 w 56382"/>
                <a:gd name="connsiteY0" fmla="*/ 0 h 89039"/>
                <a:gd name="connsiteX1" fmla="*/ 15910 w 56382"/>
                <a:gd name="connsiteY1" fmla="*/ 0 h 89039"/>
                <a:gd name="connsiteX2" fmla="*/ 15910 w 56382"/>
                <a:gd name="connsiteY2" fmla="*/ 36286 h 89039"/>
                <a:gd name="connsiteX3" fmla="*/ 16189 w 56382"/>
                <a:gd name="connsiteY3" fmla="*/ 36286 h 89039"/>
                <a:gd name="connsiteX4" fmla="*/ 35448 w 56382"/>
                <a:gd name="connsiteY4" fmla="*/ 26517 h 89039"/>
                <a:gd name="connsiteX5" fmla="*/ 56383 w 56382"/>
                <a:gd name="connsiteY5" fmla="*/ 50521 h 89039"/>
                <a:gd name="connsiteX6" fmla="*/ 56383 w 56382"/>
                <a:gd name="connsiteY6" fmla="*/ 89040 h 89039"/>
                <a:gd name="connsiteX7" fmla="*/ 40473 w 56382"/>
                <a:gd name="connsiteY7" fmla="*/ 89040 h 89039"/>
                <a:gd name="connsiteX8" fmla="*/ 40473 w 56382"/>
                <a:gd name="connsiteY8" fmla="*/ 56383 h 89039"/>
                <a:gd name="connsiteX9" fmla="*/ 30145 w 56382"/>
                <a:gd name="connsiteY9" fmla="*/ 38798 h 89039"/>
                <a:gd name="connsiteX10" fmla="*/ 16189 w 56382"/>
                <a:gd name="connsiteY10" fmla="*/ 59174 h 89039"/>
                <a:gd name="connsiteX11" fmla="*/ 16189 w 56382"/>
                <a:gd name="connsiteY11" fmla="*/ 89040 h 89039"/>
                <a:gd name="connsiteX12" fmla="*/ 0 w 56382"/>
                <a:gd name="connsiteY12" fmla="*/ 89040 h 89039"/>
                <a:gd name="connsiteX13" fmla="*/ 0 w 56382"/>
                <a:gd name="connsiteY13" fmla="*/ 0 h 8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382" h="89039">
                  <a:moveTo>
                    <a:pt x="0" y="0"/>
                  </a:moveTo>
                  <a:lnTo>
                    <a:pt x="15910" y="0"/>
                  </a:lnTo>
                  <a:lnTo>
                    <a:pt x="15910" y="36286"/>
                  </a:lnTo>
                  <a:lnTo>
                    <a:pt x="16189" y="36286"/>
                  </a:lnTo>
                  <a:cubicBezTo>
                    <a:pt x="20097" y="30424"/>
                    <a:pt x="27075" y="26517"/>
                    <a:pt x="35448" y="26517"/>
                  </a:cubicBezTo>
                  <a:cubicBezTo>
                    <a:pt x="49963" y="26517"/>
                    <a:pt x="56383" y="36844"/>
                    <a:pt x="56383" y="50521"/>
                  </a:cubicBezTo>
                  <a:lnTo>
                    <a:pt x="56383" y="89040"/>
                  </a:lnTo>
                  <a:lnTo>
                    <a:pt x="40473" y="89040"/>
                  </a:lnTo>
                  <a:lnTo>
                    <a:pt x="40473" y="56383"/>
                  </a:lnTo>
                  <a:cubicBezTo>
                    <a:pt x="40473" y="48846"/>
                    <a:pt x="40473" y="38798"/>
                    <a:pt x="30145" y="38798"/>
                  </a:cubicBezTo>
                  <a:cubicBezTo>
                    <a:pt x="18701" y="38798"/>
                    <a:pt x="16189" y="51358"/>
                    <a:pt x="16189" y="59174"/>
                  </a:cubicBezTo>
                  <a:lnTo>
                    <a:pt x="16189" y="89040"/>
                  </a:lnTo>
                  <a:lnTo>
                    <a:pt x="0" y="8904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B1E3C52-B7C8-4A1D-A056-E4C1AA13022C}"/>
                </a:ext>
              </a:extLst>
            </p:cNvPr>
            <p:cNvSpPr/>
            <p:nvPr/>
          </p:nvSpPr>
          <p:spPr>
            <a:xfrm>
              <a:off x="2050001" y="1128400"/>
              <a:ext cx="62244" cy="82900"/>
            </a:xfrm>
            <a:custGeom>
              <a:avLst/>
              <a:gdLst>
                <a:gd name="connsiteX0" fmla="*/ 16747 w 62244"/>
                <a:gd name="connsiteY0" fmla="*/ 35450 h 82900"/>
                <a:gd name="connsiteX1" fmla="*/ 22330 w 62244"/>
                <a:gd name="connsiteY1" fmla="*/ 35450 h 82900"/>
                <a:gd name="connsiteX2" fmla="*/ 39914 w 62244"/>
                <a:gd name="connsiteY2" fmla="*/ 24006 h 82900"/>
                <a:gd name="connsiteX3" fmla="*/ 22330 w 62244"/>
                <a:gd name="connsiteY3" fmla="*/ 13120 h 82900"/>
                <a:gd name="connsiteX4" fmla="*/ 16747 w 62244"/>
                <a:gd name="connsiteY4" fmla="*/ 13120 h 82900"/>
                <a:gd name="connsiteX5" fmla="*/ 16747 w 62244"/>
                <a:gd name="connsiteY5" fmla="*/ 35450 h 82900"/>
                <a:gd name="connsiteX6" fmla="*/ 0 w 62244"/>
                <a:gd name="connsiteY6" fmla="*/ 1 h 82900"/>
                <a:gd name="connsiteX7" fmla="*/ 17864 w 62244"/>
                <a:gd name="connsiteY7" fmla="*/ 1 h 82900"/>
                <a:gd name="connsiteX8" fmla="*/ 56941 w 62244"/>
                <a:gd name="connsiteY8" fmla="*/ 22331 h 82900"/>
                <a:gd name="connsiteX9" fmla="*/ 39914 w 62244"/>
                <a:gd name="connsiteY9" fmla="*/ 41590 h 82900"/>
                <a:gd name="connsiteX10" fmla="*/ 39914 w 62244"/>
                <a:gd name="connsiteY10" fmla="*/ 41869 h 82900"/>
                <a:gd name="connsiteX11" fmla="*/ 48846 w 62244"/>
                <a:gd name="connsiteY11" fmla="*/ 50522 h 82900"/>
                <a:gd name="connsiteX12" fmla="*/ 62244 w 62244"/>
                <a:gd name="connsiteY12" fmla="*/ 82900 h 82900"/>
                <a:gd name="connsiteX13" fmla="*/ 43822 w 62244"/>
                <a:gd name="connsiteY13" fmla="*/ 82900 h 82900"/>
                <a:gd name="connsiteX14" fmla="*/ 33774 w 62244"/>
                <a:gd name="connsiteY14" fmla="*/ 56942 h 82900"/>
                <a:gd name="connsiteX15" fmla="*/ 22330 w 62244"/>
                <a:gd name="connsiteY15" fmla="*/ 48289 h 82900"/>
                <a:gd name="connsiteX16" fmla="*/ 17027 w 62244"/>
                <a:gd name="connsiteY16" fmla="*/ 48289 h 82900"/>
                <a:gd name="connsiteX17" fmla="*/ 17027 w 62244"/>
                <a:gd name="connsiteY17" fmla="*/ 82900 h 82900"/>
                <a:gd name="connsiteX18" fmla="*/ 279 w 62244"/>
                <a:gd name="connsiteY18" fmla="*/ 82900 h 82900"/>
                <a:gd name="connsiteX19" fmla="*/ 279 w 62244"/>
                <a:gd name="connsiteY19" fmla="*/ 1 h 8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2244" h="82900">
                  <a:moveTo>
                    <a:pt x="16747" y="35450"/>
                  </a:moveTo>
                  <a:lnTo>
                    <a:pt x="22330" y="35450"/>
                  </a:lnTo>
                  <a:cubicBezTo>
                    <a:pt x="30424" y="35450"/>
                    <a:pt x="39914" y="34333"/>
                    <a:pt x="39914" y="24006"/>
                  </a:cubicBezTo>
                  <a:cubicBezTo>
                    <a:pt x="39914" y="13957"/>
                    <a:pt x="30703" y="13120"/>
                    <a:pt x="22330" y="13120"/>
                  </a:cubicBezTo>
                  <a:lnTo>
                    <a:pt x="16747" y="13120"/>
                  </a:lnTo>
                  <a:lnTo>
                    <a:pt x="16747" y="35450"/>
                  </a:lnTo>
                  <a:moveTo>
                    <a:pt x="0" y="1"/>
                  </a:moveTo>
                  <a:lnTo>
                    <a:pt x="17864" y="1"/>
                  </a:lnTo>
                  <a:cubicBezTo>
                    <a:pt x="35728" y="1"/>
                    <a:pt x="56941" y="-557"/>
                    <a:pt x="56941" y="22331"/>
                  </a:cubicBezTo>
                  <a:cubicBezTo>
                    <a:pt x="56941" y="32100"/>
                    <a:pt x="50521" y="40195"/>
                    <a:pt x="39914" y="41590"/>
                  </a:cubicBezTo>
                  <a:lnTo>
                    <a:pt x="39914" y="41869"/>
                  </a:lnTo>
                  <a:cubicBezTo>
                    <a:pt x="44380" y="42149"/>
                    <a:pt x="47172" y="46615"/>
                    <a:pt x="48846" y="50522"/>
                  </a:cubicBezTo>
                  <a:lnTo>
                    <a:pt x="62244" y="82900"/>
                  </a:lnTo>
                  <a:lnTo>
                    <a:pt x="43822" y="82900"/>
                  </a:lnTo>
                  <a:lnTo>
                    <a:pt x="33774" y="56942"/>
                  </a:lnTo>
                  <a:cubicBezTo>
                    <a:pt x="31262" y="50801"/>
                    <a:pt x="29308" y="48289"/>
                    <a:pt x="22330" y="48289"/>
                  </a:cubicBezTo>
                  <a:lnTo>
                    <a:pt x="17027" y="48289"/>
                  </a:lnTo>
                  <a:lnTo>
                    <a:pt x="17027" y="82900"/>
                  </a:lnTo>
                  <a:lnTo>
                    <a:pt x="279" y="8290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D3ED5F8-3901-40CD-B218-F4B59338639F}"/>
                </a:ext>
              </a:extLst>
            </p:cNvPr>
            <p:cNvSpPr/>
            <p:nvPr/>
          </p:nvSpPr>
          <p:spPr>
            <a:xfrm>
              <a:off x="2118665" y="1148498"/>
              <a:ext cx="57498" cy="64197"/>
            </a:xfrm>
            <a:custGeom>
              <a:avLst/>
              <a:gdLst>
                <a:gd name="connsiteX0" fmla="*/ 42147 w 57498"/>
                <a:gd name="connsiteY0" fmla="*/ 26237 h 64197"/>
                <a:gd name="connsiteX1" fmla="*/ 29308 w 57498"/>
                <a:gd name="connsiteY1" fmla="*/ 12002 h 64197"/>
                <a:gd name="connsiteX2" fmla="*/ 15072 w 57498"/>
                <a:gd name="connsiteY2" fmla="*/ 26237 h 64197"/>
                <a:gd name="connsiteX3" fmla="*/ 42147 w 57498"/>
                <a:gd name="connsiteY3" fmla="*/ 26237 h 64197"/>
                <a:gd name="connsiteX4" fmla="*/ 53033 w 57498"/>
                <a:gd name="connsiteY4" fmla="*/ 59453 h 64197"/>
                <a:gd name="connsiteX5" fmla="*/ 32099 w 57498"/>
                <a:gd name="connsiteY5" fmla="*/ 64198 h 64197"/>
                <a:gd name="connsiteX6" fmla="*/ 0 w 57498"/>
                <a:gd name="connsiteY6" fmla="*/ 32378 h 64197"/>
                <a:gd name="connsiteX7" fmla="*/ 28470 w 57498"/>
                <a:gd name="connsiteY7" fmla="*/ 0 h 64197"/>
                <a:gd name="connsiteX8" fmla="*/ 57499 w 57498"/>
                <a:gd name="connsiteY8" fmla="*/ 36844 h 64197"/>
                <a:gd name="connsiteX9" fmla="*/ 15072 w 57498"/>
                <a:gd name="connsiteY9" fmla="*/ 36844 h 64197"/>
                <a:gd name="connsiteX10" fmla="*/ 32657 w 57498"/>
                <a:gd name="connsiteY10" fmla="*/ 52196 h 64197"/>
                <a:gd name="connsiteX11" fmla="*/ 53033 w 57498"/>
                <a:gd name="connsiteY11" fmla="*/ 46055 h 64197"/>
                <a:gd name="connsiteX12" fmla="*/ 53033 w 57498"/>
                <a:gd name="connsiteY12" fmla="*/ 5945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498" h="64197">
                  <a:moveTo>
                    <a:pt x="42147" y="26237"/>
                  </a:moveTo>
                  <a:cubicBezTo>
                    <a:pt x="41589" y="18422"/>
                    <a:pt x="37960" y="12002"/>
                    <a:pt x="29308" y="12002"/>
                  </a:cubicBezTo>
                  <a:cubicBezTo>
                    <a:pt x="20376" y="12002"/>
                    <a:pt x="15910" y="18143"/>
                    <a:pt x="15072" y="26237"/>
                  </a:cubicBezTo>
                  <a:lnTo>
                    <a:pt x="42147" y="26237"/>
                  </a:lnTo>
                  <a:moveTo>
                    <a:pt x="53033" y="59453"/>
                  </a:moveTo>
                  <a:cubicBezTo>
                    <a:pt x="47171" y="62802"/>
                    <a:pt x="40473" y="64198"/>
                    <a:pt x="32099" y="64198"/>
                  </a:cubicBezTo>
                  <a:cubicBezTo>
                    <a:pt x="12002" y="64198"/>
                    <a:pt x="0" y="52475"/>
                    <a:pt x="0" y="32378"/>
                  </a:cubicBezTo>
                  <a:cubicBezTo>
                    <a:pt x="0" y="14793"/>
                    <a:pt x="9490" y="0"/>
                    <a:pt x="28470" y="0"/>
                  </a:cubicBezTo>
                  <a:cubicBezTo>
                    <a:pt x="51079" y="0"/>
                    <a:pt x="57499" y="15631"/>
                    <a:pt x="57499" y="36844"/>
                  </a:cubicBezTo>
                  <a:lnTo>
                    <a:pt x="15072" y="36844"/>
                  </a:lnTo>
                  <a:cubicBezTo>
                    <a:pt x="15910" y="46613"/>
                    <a:pt x="22609" y="52196"/>
                    <a:pt x="32657" y="52196"/>
                  </a:cubicBezTo>
                  <a:cubicBezTo>
                    <a:pt x="40473" y="52196"/>
                    <a:pt x="47171" y="49405"/>
                    <a:pt x="53033" y="46055"/>
                  </a:cubicBezTo>
                  <a:lnTo>
                    <a:pt x="53033" y="59453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B3195A43-7BE4-45EF-9AAA-565DCD476176}"/>
                </a:ext>
              </a:extLst>
            </p:cNvPr>
            <p:cNvSpPr/>
            <p:nvPr/>
          </p:nvSpPr>
          <p:spPr>
            <a:xfrm>
              <a:off x="2188725" y="1148777"/>
              <a:ext cx="60290" cy="87644"/>
            </a:xfrm>
            <a:custGeom>
              <a:avLst/>
              <a:gdLst>
                <a:gd name="connsiteX0" fmla="*/ 15910 w 60290"/>
                <a:gd name="connsiteY0" fmla="*/ 31820 h 87644"/>
                <a:gd name="connsiteX1" fmla="*/ 29866 w 60290"/>
                <a:gd name="connsiteY1" fmla="*/ 51637 h 87644"/>
                <a:gd name="connsiteX2" fmla="*/ 43264 w 60290"/>
                <a:gd name="connsiteY2" fmla="*/ 31820 h 87644"/>
                <a:gd name="connsiteX3" fmla="*/ 30145 w 60290"/>
                <a:gd name="connsiteY3" fmla="*/ 12281 h 87644"/>
                <a:gd name="connsiteX4" fmla="*/ 15910 w 60290"/>
                <a:gd name="connsiteY4" fmla="*/ 31820 h 87644"/>
                <a:gd name="connsiteX5" fmla="*/ 0 w 60290"/>
                <a:gd name="connsiteY5" fmla="*/ 1396 h 87644"/>
                <a:gd name="connsiteX6" fmla="*/ 15352 w 60290"/>
                <a:gd name="connsiteY6" fmla="*/ 1396 h 87644"/>
                <a:gd name="connsiteX7" fmla="*/ 15352 w 60290"/>
                <a:gd name="connsiteY7" fmla="*/ 10048 h 87644"/>
                <a:gd name="connsiteX8" fmla="*/ 15631 w 60290"/>
                <a:gd name="connsiteY8" fmla="*/ 10048 h 87644"/>
                <a:gd name="connsiteX9" fmla="*/ 34611 w 60290"/>
                <a:gd name="connsiteY9" fmla="*/ 0 h 87644"/>
                <a:gd name="connsiteX10" fmla="*/ 60290 w 60290"/>
                <a:gd name="connsiteY10" fmla="*/ 31820 h 87644"/>
                <a:gd name="connsiteX11" fmla="*/ 34332 w 60290"/>
                <a:gd name="connsiteY11" fmla="*/ 63919 h 87644"/>
                <a:gd name="connsiteX12" fmla="*/ 16468 w 60290"/>
                <a:gd name="connsiteY12" fmla="*/ 55545 h 87644"/>
                <a:gd name="connsiteX13" fmla="*/ 16189 w 60290"/>
                <a:gd name="connsiteY13" fmla="*/ 55545 h 87644"/>
                <a:gd name="connsiteX14" fmla="*/ 16189 w 60290"/>
                <a:gd name="connsiteY14" fmla="*/ 87644 h 87644"/>
                <a:gd name="connsiteX15" fmla="*/ 279 w 60290"/>
                <a:gd name="connsiteY15" fmla="*/ 87644 h 87644"/>
                <a:gd name="connsiteX16" fmla="*/ 279 w 60290"/>
                <a:gd name="connsiteY16" fmla="*/ 1396 h 8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290" h="87644">
                  <a:moveTo>
                    <a:pt x="15910" y="31820"/>
                  </a:moveTo>
                  <a:cubicBezTo>
                    <a:pt x="15910" y="40473"/>
                    <a:pt x="19259" y="51637"/>
                    <a:pt x="29866" y="51637"/>
                  </a:cubicBezTo>
                  <a:cubicBezTo>
                    <a:pt x="40194" y="51637"/>
                    <a:pt x="43264" y="40194"/>
                    <a:pt x="43264" y="31820"/>
                  </a:cubicBezTo>
                  <a:cubicBezTo>
                    <a:pt x="43264" y="23725"/>
                    <a:pt x="40473" y="12281"/>
                    <a:pt x="30145" y="12281"/>
                  </a:cubicBezTo>
                  <a:cubicBezTo>
                    <a:pt x="19818" y="12281"/>
                    <a:pt x="15910" y="23167"/>
                    <a:pt x="15910" y="31820"/>
                  </a:cubicBezTo>
                  <a:moveTo>
                    <a:pt x="0" y="1396"/>
                  </a:moveTo>
                  <a:lnTo>
                    <a:pt x="15352" y="1396"/>
                  </a:lnTo>
                  <a:lnTo>
                    <a:pt x="15352" y="10048"/>
                  </a:lnTo>
                  <a:lnTo>
                    <a:pt x="15631" y="10048"/>
                  </a:lnTo>
                  <a:cubicBezTo>
                    <a:pt x="19259" y="4187"/>
                    <a:pt x="25400" y="0"/>
                    <a:pt x="34611" y="0"/>
                  </a:cubicBezTo>
                  <a:cubicBezTo>
                    <a:pt x="53312" y="0"/>
                    <a:pt x="60290" y="15073"/>
                    <a:pt x="60290" y="31820"/>
                  </a:cubicBezTo>
                  <a:cubicBezTo>
                    <a:pt x="60290" y="48567"/>
                    <a:pt x="53312" y="63919"/>
                    <a:pt x="34332" y="63919"/>
                  </a:cubicBezTo>
                  <a:cubicBezTo>
                    <a:pt x="27633" y="63919"/>
                    <a:pt x="22051" y="62244"/>
                    <a:pt x="16468" y="55545"/>
                  </a:cubicBezTo>
                  <a:lnTo>
                    <a:pt x="16189" y="55545"/>
                  </a:lnTo>
                  <a:lnTo>
                    <a:pt x="16189" y="87644"/>
                  </a:lnTo>
                  <a:lnTo>
                    <a:pt x="279" y="87644"/>
                  </a:lnTo>
                  <a:lnTo>
                    <a:pt x="279" y="1396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6156398-1542-4DAA-A9F4-CC1E60A6E74A}"/>
                </a:ext>
              </a:extLst>
            </p:cNvPr>
            <p:cNvSpPr/>
            <p:nvPr/>
          </p:nvSpPr>
          <p:spPr>
            <a:xfrm>
              <a:off x="2261017" y="1150173"/>
              <a:ext cx="56382" cy="62523"/>
            </a:xfrm>
            <a:custGeom>
              <a:avLst/>
              <a:gdLst>
                <a:gd name="connsiteX0" fmla="*/ 56382 w 56382"/>
                <a:gd name="connsiteY0" fmla="*/ 61128 h 62523"/>
                <a:gd name="connsiteX1" fmla="*/ 41310 w 56382"/>
                <a:gd name="connsiteY1" fmla="*/ 61128 h 62523"/>
                <a:gd name="connsiteX2" fmla="*/ 41310 w 56382"/>
                <a:gd name="connsiteY2" fmla="*/ 52754 h 62523"/>
                <a:gd name="connsiteX3" fmla="*/ 41031 w 56382"/>
                <a:gd name="connsiteY3" fmla="*/ 52754 h 62523"/>
                <a:gd name="connsiteX4" fmla="*/ 20934 w 56382"/>
                <a:gd name="connsiteY4" fmla="*/ 62523 h 62523"/>
                <a:gd name="connsiteX5" fmla="*/ 0 w 56382"/>
                <a:gd name="connsiteY5" fmla="*/ 38519 h 62523"/>
                <a:gd name="connsiteX6" fmla="*/ 0 w 56382"/>
                <a:gd name="connsiteY6" fmla="*/ 0 h 62523"/>
                <a:gd name="connsiteX7" fmla="*/ 15910 w 56382"/>
                <a:gd name="connsiteY7" fmla="*/ 0 h 62523"/>
                <a:gd name="connsiteX8" fmla="*/ 15910 w 56382"/>
                <a:gd name="connsiteY8" fmla="*/ 32657 h 62523"/>
                <a:gd name="connsiteX9" fmla="*/ 26237 w 56382"/>
                <a:gd name="connsiteY9" fmla="*/ 50242 h 62523"/>
                <a:gd name="connsiteX10" fmla="*/ 40193 w 56382"/>
                <a:gd name="connsiteY10" fmla="*/ 29866 h 62523"/>
                <a:gd name="connsiteX11" fmla="*/ 40193 w 56382"/>
                <a:gd name="connsiteY11" fmla="*/ 0 h 62523"/>
                <a:gd name="connsiteX12" fmla="*/ 56103 w 56382"/>
                <a:gd name="connsiteY12" fmla="*/ 0 h 62523"/>
                <a:gd name="connsiteX13" fmla="*/ 56103 w 56382"/>
                <a:gd name="connsiteY13" fmla="*/ 61128 h 62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382" h="62523">
                  <a:moveTo>
                    <a:pt x="56382" y="61128"/>
                  </a:moveTo>
                  <a:lnTo>
                    <a:pt x="41310" y="61128"/>
                  </a:lnTo>
                  <a:lnTo>
                    <a:pt x="41310" y="52754"/>
                  </a:lnTo>
                  <a:lnTo>
                    <a:pt x="41031" y="52754"/>
                  </a:lnTo>
                  <a:cubicBezTo>
                    <a:pt x="36286" y="58616"/>
                    <a:pt x="29308" y="62523"/>
                    <a:pt x="20934" y="62523"/>
                  </a:cubicBezTo>
                  <a:cubicBezTo>
                    <a:pt x="6420" y="62523"/>
                    <a:pt x="0" y="52196"/>
                    <a:pt x="0" y="38519"/>
                  </a:cubicBezTo>
                  <a:lnTo>
                    <a:pt x="0" y="0"/>
                  </a:lnTo>
                  <a:lnTo>
                    <a:pt x="15910" y="0"/>
                  </a:lnTo>
                  <a:lnTo>
                    <a:pt x="15910" y="32657"/>
                  </a:lnTo>
                  <a:cubicBezTo>
                    <a:pt x="15910" y="40194"/>
                    <a:pt x="15910" y="50242"/>
                    <a:pt x="26237" y="50242"/>
                  </a:cubicBezTo>
                  <a:cubicBezTo>
                    <a:pt x="37681" y="50242"/>
                    <a:pt x="40193" y="37681"/>
                    <a:pt x="40193" y="29866"/>
                  </a:cubicBezTo>
                  <a:lnTo>
                    <a:pt x="40193" y="0"/>
                  </a:lnTo>
                  <a:lnTo>
                    <a:pt x="56103" y="0"/>
                  </a:lnTo>
                  <a:lnTo>
                    <a:pt x="56103" y="61128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5A7E4A2-BDAA-4B10-AAAC-3A849ED04ADB}"/>
                </a:ext>
              </a:extLst>
            </p:cNvPr>
            <p:cNvSpPr/>
            <p:nvPr/>
          </p:nvSpPr>
          <p:spPr>
            <a:xfrm>
              <a:off x="2333868" y="1122261"/>
              <a:ext cx="60290" cy="90435"/>
            </a:xfrm>
            <a:custGeom>
              <a:avLst/>
              <a:gdLst>
                <a:gd name="connsiteX0" fmla="*/ 29866 w 60290"/>
                <a:gd name="connsiteY0" fmla="*/ 78154 h 90435"/>
                <a:gd name="connsiteX1" fmla="*/ 43264 w 60290"/>
                <a:gd name="connsiteY1" fmla="*/ 58336 h 90435"/>
                <a:gd name="connsiteX2" fmla="*/ 30145 w 60290"/>
                <a:gd name="connsiteY2" fmla="*/ 38798 h 90435"/>
                <a:gd name="connsiteX3" fmla="*/ 15910 w 60290"/>
                <a:gd name="connsiteY3" fmla="*/ 58336 h 90435"/>
                <a:gd name="connsiteX4" fmla="*/ 29866 w 60290"/>
                <a:gd name="connsiteY4" fmla="*/ 78154 h 90435"/>
                <a:gd name="connsiteX5" fmla="*/ 0 w 60290"/>
                <a:gd name="connsiteY5" fmla="*/ 0 h 90435"/>
                <a:gd name="connsiteX6" fmla="*/ 15910 w 60290"/>
                <a:gd name="connsiteY6" fmla="*/ 0 h 90435"/>
                <a:gd name="connsiteX7" fmla="*/ 15910 w 60290"/>
                <a:gd name="connsiteY7" fmla="*/ 35728 h 90435"/>
                <a:gd name="connsiteX8" fmla="*/ 16189 w 60290"/>
                <a:gd name="connsiteY8" fmla="*/ 35728 h 90435"/>
                <a:gd name="connsiteX9" fmla="*/ 34611 w 60290"/>
                <a:gd name="connsiteY9" fmla="*/ 26517 h 90435"/>
                <a:gd name="connsiteX10" fmla="*/ 60290 w 60290"/>
                <a:gd name="connsiteY10" fmla="*/ 58336 h 90435"/>
                <a:gd name="connsiteX11" fmla="*/ 34611 w 60290"/>
                <a:gd name="connsiteY11" fmla="*/ 90435 h 90435"/>
                <a:gd name="connsiteX12" fmla="*/ 15910 w 60290"/>
                <a:gd name="connsiteY12" fmla="*/ 81504 h 90435"/>
                <a:gd name="connsiteX13" fmla="*/ 15352 w 60290"/>
                <a:gd name="connsiteY13" fmla="*/ 81504 h 90435"/>
                <a:gd name="connsiteX14" fmla="*/ 15352 w 60290"/>
                <a:gd name="connsiteY14" fmla="*/ 89040 h 90435"/>
                <a:gd name="connsiteX15" fmla="*/ 0 w 60290"/>
                <a:gd name="connsiteY15" fmla="*/ 89040 h 90435"/>
                <a:gd name="connsiteX16" fmla="*/ 0 w 60290"/>
                <a:gd name="connsiteY16" fmla="*/ 0 h 90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290" h="90435">
                  <a:moveTo>
                    <a:pt x="29866" y="78154"/>
                  </a:moveTo>
                  <a:cubicBezTo>
                    <a:pt x="40194" y="78154"/>
                    <a:pt x="43264" y="66710"/>
                    <a:pt x="43264" y="58336"/>
                  </a:cubicBezTo>
                  <a:cubicBezTo>
                    <a:pt x="43264" y="50242"/>
                    <a:pt x="40473" y="38798"/>
                    <a:pt x="30145" y="38798"/>
                  </a:cubicBezTo>
                  <a:cubicBezTo>
                    <a:pt x="19818" y="38798"/>
                    <a:pt x="15910" y="49684"/>
                    <a:pt x="15910" y="58336"/>
                  </a:cubicBezTo>
                  <a:cubicBezTo>
                    <a:pt x="15910" y="66989"/>
                    <a:pt x="19259" y="78154"/>
                    <a:pt x="29866" y="78154"/>
                  </a:cubicBezTo>
                  <a:moveTo>
                    <a:pt x="0" y="0"/>
                  </a:moveTo>
                  <a:lnTo>
                    <a:pt x="15910" y="0"/>
                  </a:lnTo>
                  <a:lnTo>
                    <a:pt x="15910" y="35728"/>
                  </a:lnTo>
                  <a:lnTo>
                    <a:pt x="16189" y="35728"/>
                  </a:lnTo>
                  <a:cubicBezTo>
                    <a:pt x="20655" y="29866"/>
                    <a:pt x="26237" y="26517"/>
                    <a:pt x="34611" y="26517"/>
                  </a:cubicBezTo>
                  <a:cubicBezTo>
                    <a:pt x="53312" y="26517"/>
                    <a:pt x="60290" y="41589"/>
                    <a:pt x="60290" y="58336"/>
                  </a:cubicBezTo>
                  <a:cubicBezTo>
                    <a:pt x="60290" y="75084"/>
                    <a:pt x="53312" y="90435"/>
                    <a:pt x="34611" y="90435"/>
                  </a:cubicBezTo>
                  <a:cubicBezTo>
                    <a:pt x="27912" y="90435"/>
                    <a:pt x="20376" y="87923"/>
                    <a:pt x="15910" y="81504"/>
                  </a:cubicBezTo>
                  <a:lnTo>
                    <a:pt x="15352" y="81504"/>
                  </a:lnTo>
                  <a:lnTo>
                    <a:pt x="15352" y="89040"/>
                  </a:lnTo>
                  <a:lnTo>
                    <a:pt x="0" y="890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83048E6-ABC7-439A-ACF0-3B814E5BC46B}"/>
                </a:ext>
              </a:extLst>
            </p:cNvPr>
            <p:cNvSpPr/>
            <p:nvPr/>
          </p:nvSpPr>
          <p:spPr>
            <a:xfrm>
              <a:off x="2406719" y="1122261"/>
              <a:ext cx="15909" cy="89039"/>
            </a:xfrm>
            <a:custGeom>
              <a:avLst/>
              <a:gdLst>
                <a:gd name="connsiteX0" fmla="*/ 0 w 15909"/>
                <a:gd name="connsiteY0" fmla="*/ 0 h 89039"/>
                <a:gd name="connsiteX1" fmla="*/ 15910 w 15909"/>
                <a:gd name="connsiteY1" fmla="*/ 0 h 89039"/>
                <a:gd name="connsiteX2" fmla="*/ 15910 w 15909"/>
                <a:gd name="connsiteY2" fmla="*/ 89040 h 89039"/>
                <a:gd name="connsiteX3" fmla="*/ 0 w 15909"/>
                <a:gd name="connsiteY3" fmla="*/ 89040 h 8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09" h="89039">
                  <a:moveTo>
                    <a:pt x="0" y="0"/>
                  </a:moveTo>
                  <a:lnTo>
                    <a:pt x="15910" y="0"/>
                  </a:lnTo>
                  <a:lnTo>
                    <a:pt x="15910" y="89040"/>
                  </a:lnTo>
                  <a:lnTo>
                    <a:pt x="0" y="8904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22A0C10-A938-477E-85BD-A26671020351}"/>
                </a:ext>
              </a:extLst>
            </p:cNvPr>
            <p:cNvSpPr/>
            <p:nvPr/>
          </p:nvSpPr>
          <p:spPr>
            <a:xfrm>
              <a:off x="2439655" y="1123656"/>
              <a:ext cx="15909" cy="87644"/>
            </a:xfrm>
            <a:custGeom>
              <a:avLst/>
              <a:gdLst>
                <a:gd name="connsiteX0" fmla="*/ 0 w 15909"/>
                <a:gd name="connsiteY0" fmla="*/ 26517 h 87644"/>
                <a:gd name="connsiteX1" fmla="*/ 15910 w 15909"/>
                <a:gd name="connsiteY1" fmla="*/ 26517 h 87644"/>
                <a:gd name="connsiteX2" fmla="*/ 15910 w 15909"/>
                <a:gd name="connsiteY2" fmla="*/ 87644 h 87644"/>
                <a:gd name="connsiteX3" fmla="*/ 0 w 15909"/>
                <a:gd name="connsiteY3" fmla="*/ 87644 h 87644"/>
                <a:gd name="connsiteX4" fmla="*/ 0 w 15909"/>
                <a:gd name="connsiteY4" fmla="*/ 26517 h 87644"/>
                <a:gd name="connsiteX5" fmla="*/ 0 w 15909"/>
                <a:gd name="connsiteY5" fmla="*/ 0 h 87644"/>
                <a:gd name="connsiteX6" fmla="*/ 15910 w 15909"/>
                <a:gd name="connsiteY6" fmla="*/ 0 h 87644"/>
                <a:gd name="connsiteX7" fmla="*/ 15910 w 15909"/>
                <a:gd name="connsiteY7" fmla="*/ 15352 h 87644"/>
                <a:gd name="connsiteX8" fmla="*/ 0 w 15909"/>
                <a:gd name="connsiteY8" fmla="*/ 15352 h 87644"/>
                <a:gd name="connsiteX9" fmla="*/ 0 w 15909"/>
                <a:gd name="connsiteY9" fmla="*/ 0 h 8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909" h="87644">
                  <a:moveTo>
                    <a:pt x="0" y="26517"/>
                  </a:moveTo>
                  <a:lnTo>
                    <a:pt x="15910" y="26517"/>
                  </a:lnTo>
                  <a:lnTo>
                    <a:pt x="15910" y="87644"/>
                  </a:lnTo>
                  <a:lnTo>
                    <a:pt x="0" y="87644"/>
                  </a:lnTo>
                  <a:lnTo>
                    <a:pt x="0" y="26517"/>
                  </a:lnTo>
                  <a:close/>
                  <a:moveTo>
                    <a:pt x="0" y="0"/>
                  </a:moveTo>
                  <a:lnTo>
                    <a:pt x="15910" y="0"/>
                  </a:lnTo>
                  <a:lnTo>
                    <a:pt x="15910" y="15352"/>
                  </a:lnTo>
                  <a:lnTo>
                    <a:pt x="0" y="153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ECAF010A-0702-4939-A918-AB2C43867E99}"/>
                </a:ext>
              </a:extLst>
            </p:cNvPr>
            <p:cNvSpPr/>
            <p:nvPr/>
          </p:nvSpPr>
          <p:spPr>
            <a:xfrm>
              <a:off x="2468404" y="1148498"/>
              <a:ext cx="46055" cy="64197"/>
            </a:xfrm>
            <a:custGeom>
              <a:avLst/>
              <a:gdLst>
                <a:gd name="connsiteX0" fmla="*/ 43543 w 46055"/>
                <a:gd name="connsiteY0" fmla="*/ 14793 h 64197"/>
                <a:gd name="connsiteX1" fmla="*/ 32657 w 46055"/>
                <a:gd name="connsiteY1" fmla="*/ 12560 h 64197"/>
                <a:gd name="connsiteX2" fmla="*/ 16468 w 46055"/>
                <a:gd name="connsiteY2" fmla="*/ 31820 h 64197"/>
                <a:gd name="connsiteX3" fmla="*/ 32936 w 46055"/>
                <a:gd name="connsiteY3" fmla="*/ 51917 h 64197"/>
                <a:gd name="connsiteX4" fmla="*/ 45218 w 46055"/>
                <a:gd name="connsiteY4" fmla="*/ 49125 h 64197"/>
                <a:gd name="connsiteX5" fmla="*/ 46055 w 46055"/>
                <a:gd name="connsiteY5" fmla="*/ 62244 h 64197"/>
                <a:gd name="connsiteX6" fmla="*/ 30145 w 46055"/>
                <a:gd name="connsiteY6" fmla="*/ 64198 h 64197"/>
                <a:gd name="connsiteX7" fmla="*/ 0 w 46055"/>
                <a:gd name="connsiteY7" fmla="*/ 31820 h 64197"/>
                <a:gd name="connsiteX8" fmla="*/ 29587 w 46055"/>
                <a:gd name="connsiteY8" fmla="*/ 0 h 64197"/>
                <a:gd name="connsiteX9" fmla="*/ 44938 w 46055"/>
                <a:gd name="connsiteY9" fmla="*/ 1954 h 64197"/>
                <a:gd name="connsiteX10" fmla="*/ 43543 w 46055"/>
                <a:gd name="connsiteY10" fmla="*/ 1479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55" h="64197">
                  <a:moveTo>
                    <a:pt x="43543" y="14793"/>
                  </a:moveTo>
                  <a:cubicBezTo>
                    <a:pt x="40752" y="13398"/>
                    <a:pt x="37681" y="12560"/>
                    <a:pt x="32657" y="12560"/>
                  </a:cubicBezTo>
                  <a:cubicBezTo>
                    <a:pt x="22888" y="12560"/>
                    <a:pt x="16468" y="20376"/>
                    <a:pt x="16468" y="31820"/>
                  </a:cubicBezTo>
                  <a:cubicBezTo>
                    <a:pt x="16468" y="43264"/>
                    <a:pt x="21771" y="51917"/>
                    <a:pt x="32936" y="51917"/>
                  </a:cubicBezTo>
                  <a:cubicBezTo>
                    <a:pt x="37402" y="51917"/>
                    <a:pt x="42426" y="50242"/>
                    <a:pt x="45218" y="49125"/>
                  </a:cubicBezTo>
                  <a:lnTo>
                    <a:pt x="46055" y="62244"/>
                  </a:lnTo>
                  <a:cubicBezTo>
                    <a:pt x="41310" y="63640"/>
                    <a:pt x="36565" y="64198"/>
                    <a:pt x="30145" y="64198"/>
                  </a:cubicBezTo>
                  <a:cubicBezTo>
                    <a:pt x="10048" y="64198"/>
                    <a:pt x="0" y="50521"/>
                    <a:pt x="0" y="31820"/>
                  </a:cubicBezTo>
                  <a:cubicBezTo>
                    <a:pt x="0" y="14235"/>
                    <a:pt x="10328" y="0"/>
                    <a:pt x="29587" y="0"/>
                  </a:cubicBezTo>
                  <a:cubicBezTo>
                    <a:pt x="36007" y="0"/>
                    <a:pt x="40752" y="837"/>
                    <a:pt x="44938" y="1954"/>
                  </a:cubicBezTo>
                  <a:lnTo>
                    <a:pt x="43543" y="14793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7425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E148E6-D29E-4314-A4D9-2933A08EA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460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E148E6-D29E-4314-A4D9-2933A08EA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2B72D3-9110-4767-9BCA-75BA68E0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558930"/>
            <a:ext cx="10753834" cy="526298"/>
          </a:xfrm>
        </p:spPr>
        <p:txBody>
          <a:bodyPr vert="horz"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203013-F28A-4AFF-9C46-D5F0BC786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8D614-F402-4C14-81E3-E31093862FA1}" type="datetime1">
              <a:rPr lang="en-US" smtClean="0"/>
              <a:t>4/24/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43F033-6218-4FC3-BF97-221D840116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975834" y="6446579"/>
            <a:ext cx="2743200" cy="184666"/>
          </a:xfrm>
        </p:spPr>
        <p:txBody>
          <a:bodyPr/>
          <a:lstStyle/>
          <a:p>
            <a:fld id="{2837C99E-FD15-4DCC-8D86-578F5468FE4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AE83E1D-1471-4DA8-95D9-E1E969BCF023}"/>
              </a:ext>
            </a:extLst>
          </p:cNvPr>
          <p:cNvSpPr txBox="1">
            <a:spLocks/>
          </p:cNvSpPr>
          <p:nvPr userDrawn="1"/>
        </p:nvSpPr>
        <p:spPr>
          <a:xfrm>
            <a:off x="8975834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7C99E-FD15-4DCC-8D86-578F5468F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DC4813B-122E-4FDA-BEA1-E0B3E3B1EC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357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E148E6-D29E-4314-A4D9-2933A08EA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47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E148E6-D29E-4314-A4D9-2933A08EA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2B72D3-9110-4767-9BCA-75BA68E0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558930"/>
            <a:ext cx="10753834" cy="526298"/>
          </a:xfrm>
        </p:spPr>
        <p:txBody>
          <a:bodyPr vert="horz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203013-F28A-4AFF-9C46-D5F0BC786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68D614-F402-4C14-81E3-E31093862FA1}" type="datetime1">
              <a:rPr lang="en-US" smtClean="0"/>
              <a:pPr/>
              <a:t>4/24/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43F033-6218-4FC3-BF97-221D840116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975834" y="6446579"/>
            <a:ext cx="2743200" cy="1846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837C99E-FD15-4DCC-8D86-578F5468F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AE83E1D-1471-4DA8-95D9-E1E969BCF023}"/>
              </a:ext>
            </a:extLst>
          </p:cNvPr>
          <p:cNvSpPr txBox="1">
            <a:spLocks/>
          </p:cNvSpPr>
          <p:nvPr userDrawn="1"/>
        </p:nvSpPr>
        <p:spPr>
          <a:xfrm>
            <a:off x="8975834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DC4813B-122E-4FDA-BEA1-E0B3E3B1EC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9006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3E223F3-3424-4850-A095-C1BCB63C85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33827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3E223F3-3424-4850-A095-C1BCB63C85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1ABCB7A-EC16-426C-88CC-337DF940476C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>
              <a:latin typeface="Montserrat" panose="00000500000000000000" pitchFamily="2" charset="-18"/>
              <a:ea typeface="+mj-ea"/>
              <a:cs typeface="+mj-cs"/>
              <a:sym typeface="Montserrat" panose="00000500000000000000" pitchFamily="2" charset="-18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FC98A7-98EA-4C42-BB06-B962BA14D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966" y="533530"/>
            <a:ext cx="11246068" cy="526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890BAD-8BFB-4586-9C9B-C41EB14096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2966" y="1594398"/>
            <a:ext cx="1124606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C84E4E-C3E7-404F-98CA-A7A130830A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966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B5C28ECF-1052-4B6F-BAC8-3DA6EF6D6E78}" type="datetime1">
              <a:rPr lang="en-US" smtClean="0"/>
              <a:t>4/24/2024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7578A0-95A9-4738-B7C3-E0B1AB073F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834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837C99E-FD15-4DCC-8D86-578F5468FE4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63A2A8-99B9-4091-8B70-B920F23F1359}"/>
              </a:ext>
            </a:extLst>
          </p:cNvPr>
          <p:cNvGrpSpPr/>
          <p:nvPr userDrawn="1"/>
        </p:nvGrpSpPr>
        <p:grpSpPr>
          <a:xfrm>
            <a:off x="-1155458" y="0"/>
            <a:ext cx="977462" cy="6858000"/>
            <a:chOff x="5412490" y="2427471"/>
            <a:chExt cx="977462" cy="420377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FB8EE50-D166-4F97-A063-163C1C2B3BF3}"/>
                </a:ext>
              </a:extLst>
            </p:cNvPr>
            <p:cNvSpPr/>
            <p:nvPr userDrawn="1"/>
          </p:nvSpPr>
          <p:spPr>
            <a:xfrm>
              <a:off x="5412490" y="3551674"/>
              <a:ext cx="977462" cy="831164"/>
            </a:xfrm>
            <a:prstGeom prst="rect">
              <a:avLst/>
            </a:prstGeom>
            <a:solidFill>
              <a:srgbClr val="41B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/>
                <a:t>65</a:t>
              </a:r>
            </a:p>
            <a:p>
              <a:pPr algn="ctr"/>
              <a:r>
                <a:rPr lang="cs-CZ"/>
                <a:t>182</a:t>
              </a:r>
            </a:p>
            <a:p>
              <a:pPr algn="ctr"/>
              <a:r>
                <a:rPr lang="cs-CZ"/>
                <a:t>230</a:t>
              </a: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75BCE33-8C24-4987-A98D-CA2C7AFFA7C4}"/>
                </a:ext>
              </a:extLst>
            </p:cNvPr>
            <p:cNvSpPr/>
            <p:nvPr userDrawn="1"/>
          </p:nvSpPr>
          <p:spPr>
            <a:xfrm>
              <a:off x="5412490" y="4675877"/>
              <a:ext cx="977462" cy="831164"/>
            </a:xfrm>
            <a:prstGeom prst="rect">
              <a:avLst/>
            </a:prstGeom>
            <a:solidFill>
              <a:srgbClr val="0019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/>
                <a:t>0</a:t>
              </a:r>
            </a:p>
            <a:p>
              <a:pPr algn="ctr"/>
              <a:r>
                <a:rPr lang="cs-CZ"/>
                <a:t>25</a:t>
              </a:r>
            </a:p>
            <a:p>
              <a:pPr algn="ctr"/>
              <a:r>
                <a:rPr lang="cs-CZ"/>
                <a:t>165</a:t>
              </a: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038483F-FBB2-4C5D-9168-E6987C92E01B}"/>
                </a:ext>
              </a:extLst>
            </p:cNvPr>
            <p:cNvSpPr/>
            <p:nvPr userDrawn="1"/>
          </p:nvSpPr>
          <p:spPr>
            <a:xfrm>
              <a:off x="5412490" y="2427471"/>
              <a:ext cx="977462" cy="831164"/>
            </a:xfrm>
            <a:prstGeom prst="rect">
              <a:avLst/>
            </a:prstGeom>
            <a:solidFill>
              <a:srgbClr val="151A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/>
                <a:t>21</a:t>
              </a:r>
            </a:p>
            <a:p>
              <a:pPr algn="ctr"/>
              <a:r>
                <a:rPr lang="cs-CZ"/>
                <a:t>21</a:t>
              </a:r>
            </a:p>
            <a:p>
              <a:pPr algn="ctr"/>
              <a:r>
                <a:rPr lang="cs-CZ"/>
                <a:t>58</a:t>
              </a: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BDD1C31-7061-43A2-A1AA-A4679268F380}"/>
                </a:ext>
              </a:extLst>
            </p:cNvPr>
            <p:cNvSpPr/>
            <p:nvPr userDrawn="1"/>
          </p:nvSpPr>
          <p:spPr>
            <a:xfrm>
              <a:off x="5412490" y="5800081"/>
              <a:ext cx="977462" cy="831164"/>
            </a:xfrm>
            <a:prstGeom prst="rect">
              <a:avLst/>
            </a:prstGeom>
            <a:solidFill>
              <a:srgbClr val="E6E6E6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>
                  <a:solidFill>
                    <a:schemeClr val="tx1"/>
                  </a:solidFill>
                </a:rPr>
                <a:t>230</a:t>
              </a:r>
            </a:p>
            <a:p>
              <a:pPr algn="ctr"/>
              <a:r>
                <a:rPr lang="cs-CZ">
                  <a:solidFill>
                    <a:schemeClr val="tx1"/>
                  </a:solidFill>
                </a:rPr>
                <a:t>230</a:t>
              </a:r>
            </a:p>
            <a:p>
              <a:pPr algn="ctr"/>
              <a:r>
                <a:rPr lang="cs-CZ">
                  <a:solidFill>
                    <a:schemeClr val="tx1"/>
                  </a:solidFill>
                </a:rPr>
                <a:t>2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6559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4" r:id="rId3"/>
    <p:sldLayoutId id="2147483653" r:id="rId4"/>
    <p:sldLayoutId id="2147483652" r:id="rId5"/>
    <p:sldLayoutId id="2147483692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7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7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3E223F3-3424-4850-A095-C1BCB63C85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33827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3E223F3-3424-4850-A095-C1BCB63C85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1ABCB7A-EC16-426C-88CC-337DF940476C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>
              <a:latin typeface="Montserrat" panose="00000500000000000000" pitchFamily="2" charset="-18"/>
              <a:ea typeface="+mj-ea"/>
              <a:cs typeface="+mj-cs"/>
              <a:sym typeface="Montserrat" panose="00000500000000000000" pitchFamily="2" charset="-18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FC98A7-98EA-4C42-BB06-B962BA14D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966" y="533530"/>
            <a:ext cx="11246068" cy="526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890BAD-8BFB-4586-9C9B-C41EB14096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2966" y="1594398"/>
            <a:ext cx="1124606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C84E4E-C3E7-404F-98CA-A7A130830A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966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B5C28ECF-1052-4B6F-BAC8-3DA6EF6D6E78}" type="datetime1">
              <a:rPr lang="en-US" smtClean="0"/>
              <a:t>4/24/2024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7578A0-95A9-4738-B7C3-E0B1AB073F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834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837C99E-FD15-4DCC-8D86-578F5468FE4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63A2A8-99B9-4091-8B70-B920F23F1359}"/>
              </a:ext>
            </a:extLst>
          </p:cNvPr>
          <p:cNvGrpSpPr/>
          <p:nvPr userDrawn="1"/>
        </p:nvGrpSpPr>
        <p:grpSpPr>
          <a:xfrm>
            <a:off x="-1155458" y="0"/>
            <a:ext cx="977462" cy="6858000"/>
            <a:chOff x="5412490" y="2427471"/>
            <a:chExt cx="977462" cy="420377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FB8EE50-D166-4F97-A063-163C1C2B3BF3}"/>
                </a:ext>
              </a:extLst>
            </p:cNvPr>
            <p:cNvSpPr/>
            <p:nvPr userDrawn="1"/>
          </p:nvSpPr>
          <p:spPr>
            <a:xfrm>
              <a:off x="5412490" y="3551674"/>
              <a:ext cx="977462" cy="831164"/>
            </a:xfrm>
            <a:prstGeom prst="rect">
              <a:avLst/>
            </a:prstGeom>
            <a:solidFill>
              <a:srgbClr val="41B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/>
                <a:t>65</a:t>
              </a:r>
            </a:p>
            <a:p>
              <a:pPr algn="ctr"/>
              <a:r>
                <a:rPr lang="cs-CZ"/>
                <a:t>182</a:t>
              </a:r>
            </a:p>
            <a:p>
              <a:pPr algn="ctr"/>
              <a:r>
                <a:rPr lang="cs-CZ"/>
                <a:t>230</a:t>
              </a: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75BCE33-8C24-4987-A98D-CA2C7AFFA7C4}"/>
                </a:ext>
              </a:extLst>
            </p:cNvPr>
            <p:cNvSpPr/>
            <p:nvPr userDrawn="1"/>
          </p:nvSpPr>
          <p:spPr>
            <a:xfrm>
              <a:off x="5412490" y="4675877"/>
              <a:ext cx="977462" cy="831164"/>
            </a:xfrm>
            <a:prstGeom prst="rect">
              <a:avLst/>
            </a:prstGeom>
            <a:solidFill>
              <a:srgbClr val="0019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/>
                <a:t>0</a:t>
              </a:r>
            </a:p>
            <a:p>
              <a:pPr algn="ctr"/>
              <a:r>
                <a:rPr lang="cs-CZ"/>
                <a:t>25</a:t>
              </a:r>
            </a:p>
            <a:p>
              <a:pPr algn="ctr"/>
              <a:r>
                <a:rPr lang="cs-CZ"/>
                <a:t>165</a:t>
              </a: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038483F-FBB2-4C5D-9168-E6987C92E01B}"/>
                </a:ext>
              </a:extLst>
            </p:cNvPr>
            <p:cNvSpPr/>
            <p:nvPr userDrawn="1"/>
          </p:nvSpPr>
          <p:spPr>
            <a:xfrm>
              <a:off x="5412490" y="2427471"/>
              <a:ext cx="977462" cy="831164"/>
            </a:xfrm>
            <a:prstGeom prst="rect">
              <a:avLst/>
            </a:prstGeom>
            <a:solidFill>
              <a:srgbClr val="151A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/>
                <a:t>21</a:t>
              </a:r>
            </a:p>
            <a:p>
              <a:pPr algn="ctr"/>
              <a:r>
                <a:rPr lang="cs-CZ"/>
                <a:t>21</a:t>
              </a:r>
            </a:p>
            <a:p>
              <a:pPr algn="ctr"/>
              <a:r>
                <a:rPr lang="cs-CZ"/>
                <a:t>58</a:t>
              </a: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BDD1C31-7061-43A2-A1AA-A4679268F380}"/>
                </a:ext>
              </a:extLst>
            </p:cNvPr>
            <p:cNvSpPr/>
            <p:nvPr userDrawn="1"/>
          </p:nvSpPr>
          <p:spPr>
            <a:xfrm>
              <a:off x="5412490" y="5800081"/>
              <a:ext cx="977462" cy="831164"/>
            </a:xfrm>
            <a:prstGeom prst="rect">
              <a:avLst/>
            </a:prstGeom>
            <a:solidFill>
              <a:srgbClr val="E6E6E6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>
                  <a:solidFill>
                    <a:schemeClr val="tx1"/>
                  </a:solidFill>
                </a:rPr>
                <a:t>230</a:t>
              </a:r>
            </a:p>
            <a:p>
              <a:pPr algn="ctr"/>
              <a:r>
                <a:rPr lang="cs-CZ">
                  <a:solidFill>
                    <a:schemeClr val="tx1"/>
                  </a:solidFill>
                </a:rPr>
                <a:t>230</a:t>
              </a:r>
            </a:p>
            <a:p>
              <a:pPr algn="ctr"/>
              <a:r>
                <a:rPr lang="cs-CZ">
                  <a:solidFill>
                    <a:schemeClr val="tx1"/>
                  </a:solidFill>
                </a:rPr>
                <a:t>2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0439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7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7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30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AE1716-9B7D-4059-8F87-2086CACB65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AE1716-9B7D-4059-8F87-2086CACB6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A6E05C-9B29-43A4-9E01-987CA53DF4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651" y="1678928"/>
            <a:ext cx="8842216" cy="1354217"/>
          </a:xfrm>
        </p:spPr>
        <p:txBody>
          <a:bodyPr vert="horz"/>
          <a:lstStyle/>
          <a:p>
            <a:r>
              <a:rPr lang="en-US" sz="4400"/>
              <a:t>Automated Evaluation of LLM based systems</a:t>
            </a:r>
            <a:endParaRPr lang="en-GB" sz="440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4E1C10-9B22-451D-BED7-D10D505859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0050" y="3429000"/>
            <a:ext cx="5396892" cy="1661993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Ing. Marek Matiáš</a:t>
            </a:r>
          </a:p>
          <a:p>
            <a:r>
              <a:rPr lang="en-US"/>
              <a:t>Ing. Alexandr Vendl</a:t>
            </a:r>
          </a:p>
          <a:p>
            <a:r>
              <a:rPr lang="en-US"/>
              <a:t>Ing. Ondřej Finke</a:t>
            </a:r>
          </a:p>
          <a:p>
            <a:endParaRPr lang="en-US"/>
          </a:p>
          <a:p>
            <a:r>
              <a:rPr lang="en-US"/>
              <a:t>Dataclair.AI, O2 Czech Republic </a:t>
            </a:r>
          </a:p>
          <a:p>
            <a:r>
              <a:rPr lang="en-US"/>
              <a:t>2024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1E4D1D-DCC3-45A3-B326-DD7CC36EB309}"/>
              </a:ext>
            </a:extLst>
          </p:cNvPr>
          <p:cNvSpPr/>
          <p:nvPr/>
        </p:nvSpPr>
        <p:spPr>
          <a:xfrm>
            <a:off x="319053" y="319838"/>
            <a:ext cx="2969443" cy="1065229"/>
          </a:xfrm>
          <a:prstGeom prst="rect">
            <a:avLst/>
          </a:prstGeom>
          <a:solidFill>
            <a:srgbClr val="151A3A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03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Limitations of RAG methodology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10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ovéPole 3">
            <a:extLst>
              <a:ext uri="{FF2B5EF4-FFF2-40B4-BE49-F238E27FC236}">
                <a16:creationId xmlns:a16="http://schemas.microsoft.com/office/drawing/2014/main" id="{6F51A9BE-BCFB-7148-0358-E481059F5DC0}"/>
              </a:ext>
            </a:extLst>
          </p:cNvPr>
          <p:cNvSpPr txBox="1"/>
          <p:nvPr/>
        </p:nvSpPr>
        <p:spPr>
          <a:xfrm>
            <a:off x="965200" y="1564256"/>
            <a:ext cx="5486755" cy="187743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Each call to LLM is </a:t>
            </a:r>
            <a:r>
              <a:rPr lang="en-US" sz="2000">
                <a:solidFill>
                  <a:schemeClr val="accent1"/>
                </a:solidFill>
              </a:rPr>
              <a:t>expensive</a:t>
            </a:r>
            <a:r>
              <a:rPr lang="en-US" sz="2000">
                <a:solidFill>
                  <a:schemeClr val="bg1"/>
                </a:solidFill>
              </a:rPr>
              <a:t>: </a:t>
            </a:r>
            <a:br>
              <a:rPr lang="en-US" sz="2000">
                <a:solidFill>
                  <a:schemeClr val="bg1"/>
                </a:solidFill>
              </a:rPr>
            </a:br>
            <a:endParaRPr lang="en-US" sz="2000">
              <a:solidFill>
                <a:schemeClr val="bg1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The more documents we serve the model, the higher the accuracy but also the cos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>
              <a:solidFill>
                <a:schemeClr val="bg1"/>
              </a:solidFill>
            </a:endParaRPr>
          </a:p>
          <a:p>
            <a:pPr marL="342900" indent="-342900">
              <a:buAutoNum type="arabicPeriod"/>
            </a:pPr>
            <a:endParaRPr lang="en-US" sz="2000">
              <a:solidFill>
                <a:schemeClr val="bg1"/>
              </a:solidFill>
              <a:cs typeface="Bai Jamjuree"/>
            </a:endParaRPr>
          </a:p>
        </p:txBody>
      </p:sp>
      <p:pic>
        <p:nvPicPr>
          <p:cNvPr id="2050" name="Picture 2" descr="Yucheng Low on LinkedIn: You do not need a vector database. The document  retrieval problem for… | 126 comments">
            <a:extLst>
              <a:ext uri="{FF2B5EF4-FFF2-40B4-BE49-F238E27FC236}">
                <a16:creationId xmlns:a16="http://schemas.microsoft.com/office/drawing/2014/main" id="{8653BC19-CEE5-50F6-48E6-558E6BBAF8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766" y="1017875"/>
            <a:ext cx="3852034" cy="2719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E97273F-3B9F-9B08-1B97-A11923BBE67D}"/>
              </a:ext>
            </a:extLst>
          </p:cNvPr>
          <p:cNvSpPr txBox="1"/>
          <p:nvPr/>
        </p:nvSpPr>
        <p:spPr>
          <a:xfrm>
            <a:off x="965200" y="3609118"/>
            <a:ext cx="9542095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200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Inherently bad at answering </a:t>
            </a:r>
            <a:r>
              <a:rPr lang="en-US" sz="2000" b="1">
                <a:solidFill>
                  <a:schemeClr val="bg1"/>
                </a:solidFill>
              </a:rPr>
              <a:t>general questions </a:t>
            </a:r>
            <a:r>
              <a:rPr lang="en-US" sz="2000">
                <a:solidFill>
                  <a:schemeClr val="bg1"/>
                </a:solidFill>
              </a:rPr>
              <a:t>that require the combination of </a:t>
            </a:r>
            <a:r>
              <a:rPr lang="en-US" sz="2000">
                <a:solidFill>
                  <a:schemeClr val="accent1"/>
                </a:solidFill>
              </a:rPr>
              <a:t>many documents</a:t>
            </a:r>
            <a:r>
              <a:rPr lang="en-US" sz="2000">
                <a:solidFill>
                  <a:schemeClr val="bg1"/>
                </a:solidFill>
              </a:rPr>
              <a:t>: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</a:rPr>
              <a:t>e.g.: “What countries had elections in 2023?”</a:t>
            </a:r>
            <a:endParaRPr lang="en-US">
              <a:solidFill>
                <a:schemeClr val="bg1"/>
              </a:solidFill>
              <a:cs typeface="Bai Jamjure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>
              <a:solidFill>
                <a:schemeClr val="bg1"/>
              </a:solidFill>
              <a:cs typeface="Bai Jamjure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>
              <a:solidFill>
                <a:schemeClr val="bg1"/>
              </a:solidFill>
              <a:cs typeface="Bai Jamjure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  <a:cs typeface="Bai Jamjuree"/>
              </a:rPr>
              <a:t>The input data has to be well </a:t>
            </a:r>
            <a:r>
              <a:rPr lang="en-US" sz="2000">
                <a:solidFill>
                  <a:schemeClr val="accent1"/>
                </a:solidFill>
                <a:cs typeface="Bai Jamjuree"/>
              </a:rPr>
              <a:t>structured</a:t>
            </a:r>
            <a:r>
              <a:rPr lang="en-US" sz="2000">
                <a:solidFill>
                  <a:schemeClr val="bg1"/>
                </a:solidFill>
                <a:cs typeface="Bai Jamjuree"/>
              </a:rPr>
              <a:t>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cs typeface="Bai Jamjuree"/>
              </a:rPr>
              <a:t>Ideally in short paragraphs with all the relevant context. </a:t>
            </a:r>
          </a:p>
          <a:p>
            <a:endParaRPr lang="cs-CZ" sz="200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246EDCD2-BBF5-25FF-822B-64B89F047C09}"/>
              </a:ext>
            </a:extLst>
          </p:cNvPr>
          <p:cNvCxnSpPr>
            <a:cxnSpLocks/>
          </p:cNvCxnSpPr>
          <p:nvPr/>
        </p:nvCxnSpPr>
        <p:spPr>
          <a:xfrm>
            <a:off x="3791883" y="3005703"/>
            <a:ext cx="33250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1173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D1A47-0863-4AB4-91ED-899A161CD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D1A47-0863-4AB4-91ED-899A161CD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81F898C-A8D6-4F3F-9BC0-2A9891FE6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9267" y="2015007"/>
            <a:ext cx="5308803" cy="1329595"/>
          </a:xfrm>
          <a:noFill/>
        </p:spPr>
        <p:txBody>
          <a:bodyPr vert="horz"/>
          <a:lstStyle/>
          <a:p>
            <a: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  <a:t>Practical session: </a:t>
            </a:r>
            <a:b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</a:br>
            <a:b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</a:br>
            <a: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  <a:t>Hands on experience with RA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BD1EED-ADD7-4F2D-999A-6FEEF32804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37C99E-FD15-4DCC-8D86-578F5468FE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747106E-8B7B-1198-CC14-41B29DF14D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9" name="Graphic 17" descr="Monitor outline">
            <a:extLst>
              <a:ext uri="{FF2B5EF4-FFF2-40B4-BE49-F238E27FC236}">
                <a16:creationId xmlns:a16="http://schemas.microsoft.com/office/drawing/2014/main" id="{9A84CBE7-F30F-2F6A-973D-6C6489CC10AE}"/>
              </a:ext>
            </a:extLst>
          </p:cNvPr>
          <p:cNvGrpSpPr/>
          <p:nvPr/>
        </p:nvGrpSpPr>
        <p:grpSpPr>
          <a:xfrm>
            <a:off x="2578973" y="438872"/>
            <a:ext cx="7034055" cy="5980257"/>
            <a:chOff x="9970576" y="3188005"/>
            <a:chExt cx="762000" cy="647842"/>
          </a:xfrm>
          <a:gradFill>
            <a:gsLst>
              <a:gs pos="37000">
                <a:schemeClr val="accent1"/>
              </a:gs>
              <a:gs pos="81000">
                <a:schemeClr val="accent1">
                  <a:lumMod val="60000"/>
                  <a:lumOff val="40000"/>
                </a:schemeClr>
              </a:gs>
            </a:gsLst>
            <a:lin ang="21594000" scaled="0"/>
          </a:gra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B429F90-0A60-5E1A-9F2B-36A1387D8A90}"/>
                </a:ext>
              </a:extLst>
            </p:cNvPr>
            <p:cNvSpPr/>
            <p:nvPr/>
          </p:nvSpPr>
          <p:spPr>
            <a:xfrm>
              <a:off x="9970576" y="3188005"/>
              <a:ext cx="762000" cy="647842"/>
            </a:xfrm>
            <a:custGeom>
              <a:avLst/>
              <a:gdLst>
                <a:gd name="connsiteX0" fmla="*/ 723900 w 762000"/>
                <a:gd name="connsiteY0" fmla="*/ 0 h 647842"/>
                <a:gd name="connsiteX1" fmla="*/ 38100 w 762000"/>
                <a:gd name="connsiteY1" fmla="*/ 0 h 647842"/>
                <a:gd name="connsiteX2" fmla="*/ 0 w 762000"/>
                <a:gd name="connsiteY2" fmla="*/ 38100 h 647842"/>
                <a:gd name="connsiteX3" fmla="*/ 0 w 762000"/>
                <a:gd name="connsiteY3" fmla="*/ 495443 h 647842"/>
                <a:gd name="connsiteX4" fmla="*/ 38100 w 762000"/>
                <a:gd name="connsiteY4" fmla="*/ 533543 h 647842"/>
                <a:gd name="connsiteX5" fmla="*/ 314325 w 762000"/>
                <a:gd name="connsiteY5" fmla="*/ 533543 h 647842"/>
                <a:gd name="connsiteX6" fmla="*/ 314325 w 762000"/>
                <a:gd name="connsiteY6" fmla="*/ 628793 h 647842"/>
                <a:gd name="connsiteX7" fmla="*/ 209550 w 762000"/>
                <a:gd name="connsiteY7" fmla="*/ 628793 h 647842"/>
                <a:gd name="connsiteX8" fmla="*/ 209550 w 762000"/>
                <a:gd name="connsiteY8" fmla="*/ 647843 h 647842"/>
                <a:gd name="connsiteX9" fmla="*/ 552450 w 762000"/>
                <a:gd name="connsiteY9" fmla="*/ 647843 h 647842"/>
                <a:gd name="connsiteX10" fmla="*/ 552450 w 762000"/>
                <a:gd name="connsiteY10" fmla="*/ 628793 h 647842"/>
                <a:gd name="connsiteX11" fmla="*/ 447675 w 762000"/>
                <a:gd name="connsiteY11" fmla="*/ 628793 h 647842"/>
                <a:gd name="connsiteX12" fmla="*/ 447675 w 762000"/>
                <a:gd name="connsiteY12" fmla="*/ 533543 h 647842"/>
                <a:gd name="connsiteX13" fmla="*/ 723900 w 762000"/>
                <a:gd name="connsiteY13" fmla="*/ 533543 h 647842"/>
                <a:gd name="connsiteX14" fmla="*/ 762000 w 762000"/>
                <a:gd name="connsiteY14" fmla="*/ 495443 h 647842"/>
                <a:gd name="connsiteX15" fmla="*/ 762000 w 762000"/>
                <a:gd name="connsiteY15" fmla="*/ 38100 h 647842"/>
                <a:gd name="connsiteX16" fmla="*/ 723900 w 762000"/>
                <a:gd name="connsiteY16" fmla="*/ 0 h 647842"/>
                <a:gd name="connsiteX17" fmla="*/ 428625 w 762000"/>
                <a:gd name="connsiteY17" fmla="*/ 628831 h 647842"/>
                <a:gd name="connsiteX18" fmla="*/ 333375 w 762000"/>
                <a:gd name="connsiteY18" fmla="*/ 628831 h 647842"/>
                <a:gd name="connsiteX19" fmla="*/ 333375 w 762000"/>
                <a:gd name="connsiteY19" fmla="*/ 533581 h 647842"/>
                <a:gd name="connsiteX20" fmla="*/ 428625 w 762000"/>
                <a:gd name="connsiteY20" fmla="*/ 533581 h 647842"/>
                <a:gd name="connsiteX21" fmla="*/ 742950 w 762000"/>
                <a:gd name="connsiteY21" fmla="*/ 495481 h 647842"/>
                <a:gd name="connsiteX22" fmla="*/ 723900 w 762000"/>
                <a:gd name="connsiteY22" fmla="*/ 514531 h 647842"/>
                <a:gd name="connsiteX23" fmla="*/ 38100 w 762000"/>
                <a:gd name="connsiteY23" fmla="*/ 514531 h 647842"/>
                <a:gd name="connsiteX24" fmla="*/ 19050 w 762000"/>
                <a:gd name="connsiteY24" fmla="*/ 495481 h 647842"/>
                <a:gd name="connsiteX25" fmla="*/ 19050 w 762000"/>
                <a:gd name="connsiteY25" fmla="*/ 38100 h 647842"/>
                <a:gd name="connsiteX26" fmla="*/ 38100 w 762000"/>
                <a:gd name="connsiteY26" fmla="*/ 19050 h 647842"/>
                <a:gd name="connsiteX27" fmla="*/ 723900 w 762000"/>
                <a:gd name="connsiteY27" fmla="*/ 19050 h 647842"/>
                <a:gd name="connsiteX28" fmla="*/ 742950 w 762000"/>
                <a:gd name="connsiteY28" fmla="*/ 38100 h 64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62000" h="647842">
                  <a:moveTo>
                    <a:pt x="723900" y="0"/>
                  </a:moveTo>
                  <a:lnTo>
                    <a:pt x="38100" y="0"/>
                  </a:lnTo>
                  <a:cubicBezTo>
                    <a:pt x="17084" y="63"/>
                    <a:pt x="63" y="17084"/>
                    <a:pt x="0" y="38100"/>
                  </a:cubicBezTo>
                  <a:lnTo>
                    <a:pt x="0" y="495443"/>
                  </a:lnTo>
                  <a:cubicBezTo>
                    <a:pt x="68" y="516457"/>
                    <a:pt x="17086" y="533475"/>
                    <a:pt x="38100" y="533543"/>
                  </a:cubicBezTo>
                  <a:lnTo>
                    <a:pt x="314325" y="533543"/>
                  </a:lnTo>
                  <a:lnTo>
                    <a:pt x="314325" y="628793"/>
                  </a:lnTo>
                  <a:lnTo>
                    <a:pt x="209550" y="628793"/>
                  </a:lnTo>
                  <a:lnTo>
                    <a:pt x="209550" y="647843"/>
                  </a:lnTo>
                  <a:lnTo>
                    <a:pt x="552450" y="647843"/>
                  </a:lnTo>
                  <a:lnTo>
                    <a:pt x="552450" y="628793"/>
                  </a:lnTo>
                  <a:lnTo>
                    <a:pt x="447675" y="628793"/>
                  </a:lnTo>
                  <a:lnTo>
                    <a:pt x="447675" y="533543"/>
                  </a:lnTo>
                  <a:lnTo>
                    <a:pt x="723900" y="533543"/>
                  </a:lnTo>
                  <a:cubicBezTo>
                    <a:pt x="744914" y="533475"/>
                    <a:pt x="761932" y="516457"/>
                    <a:pt x="762000" y="495443"/>
                  </a:cubicBezTo>
                  <a:lnTo>
                    <a:pt x="762000" y="38100"/>
                  </a:lnTo>
                  <a:cubicBezTo>
                    <a:pt x="761937" y="17084"/>
                    <a:pt x="744916" y="63"/>
                    <a:pt x="723900" y="0"/>
                  </a:cubicBezTo>
                  <a:close/>
                  <a:moveTo>
                    <a:pt x="428625" y="628831"/>
                  </a:moveTo>
                  <a:lnTo>
                    <a:pt x="333375" y="628831"/>
                  </a:lnTo>
                  <a:lnTo>
                    <a:pt x="333375" y="533581"/>
                  </a:lnTo>
                  <a:lnTo>
                    <a:pt x="428625" y="533581"/>
                  </a:lnTo>
                  <a:close/>
                  <a:moveTo>
                    <a:pt x="742950" y="495481"/>
                  </a:moveTo>
                  <a:cubicBezTo>
                    <a:pt x="742950" y="506002"/>
                    <a:pt x="734421" y="514531"/>
                    <a:pt x="723900" y="514531"/>
                  </a:cubicBezTo>
                  <a:lnTo>
                    <a:pt x="38100" y="514531"/>
                  </a:lnTo>
                  <a:cubicBezTo>
                    <a:pt x="27579" y="514531"/>
                    <a:pt x="19050" y="506002"/>
                    <a:pt x="19050" y="495481"/>
                  </a:cubicBezTo>
                  <a:lnTo>
                    <a:pt x="19050" y="38100"/>
                  </a:lnTo>
                  <a:cubicBezTo>
                    <a:pt x="19050" y="27579"/>
                    <a:pt x="27579" y="19050"/>
                    <a:pt x="38100" y="19050"/>
                  </a:cubicBezTo>
                  <a:lnTo>
                    <a:pt x="723900" y="19050"/>
                  </a:lnTo>
                  <a:cubicBezTo>
                    <a:pt x="734421" y="19050"/>
                    <a:pt x="742950" y="27579"/>
                    <a:pt x="742950" y="381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C357788-3425-4D3A-D26F-16AB4A465C0D}"/>
                </a:ext>
              </a:extLst>
            </p:cNvPr>
            <p:cNvSpPr/>
            <p:nvPr/>
          </p:nvSpPr>
          <p:spPr>
            <a:xfrm>
              <a:off x="10018201" y="3235630"/>
              <a:ext cx="666750" cy="438283"/>
            </a:xfrm>
            <a:custGeom>
              <a:avLst/>
              <a:gdLst>
                <a:gd name="connsiteX0" fmla="*/ 19050 w 666750"/>
                <a:gd name="connsiteY0" fmla="*/ 0 h 438283"/>
                <a:gd name="connsiteX1" fmla="*/ 0 w 666750"/>
                <a:gd name="connsiteY1" fmla="*/ 0 h 438283"/>
                <a:gd name="connsiteX2" fmla="*/ 0 w 666750"/>
                <a:gd name="connsiteY2" fmla="*/ 438283 h 438283"/>
                <a:gd name="connsiteX3" fmla="*/ 666750 w 666750"/>
                <a:gd name="connsiteY3" fmla="*/ 438283 h 438283"/>
                <a:gd name="connsiteX4" fmla="*/ 666750 w 666750"/>
                <a:gd name="connsiteY4" fmla="*/ 0 h 438283"/>
                <a:gd name="connsiteX5" fmla="*/ 19050 w 666750"/>
                <a:gd name="connsiteY5" fmla="*/ 0 h 438283"/>
                <a:gd name="connsiteX6" fmla="*/ 647700 w 666750"/>
                <a:gd name="connsiteY6" fmla="*/ 419233 h 438283"/>
                <a:gd name="connsiteX7" fmla="*/ 19050 w 666750"/>
                <a:gd name="connsiteY7" fmla="*/ 419233 h 438283"/>
                <a:gd name="connsiteX8" fmla="*/ 19050 w 666750"/>
                <a:gd name="connsiteY8" fmla="*/ 19050 h 438283"/>
                <a:gd name="connsiteX9" fmla="*/ 647700 w 666750"/>
                <a:gd name="connsiteY9" fmla="*/ 19050 h 438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0" h="438283">
                  <a:moveTo>
                    <a:pt x="19050" y="0"/>
                  </a:moveTo>
                  <a:lnTo>
                    <a:pt x="0" y="0"/>
                  </a:lnTo>
                  <a:lnTo>
                    <a:pt x="0" y="438283"/>
                  </a:lnTo>
                  <a:lnTo>
                    <a:pt x="666750" y="438283"/>
                  </a:lnTo>
                  <a:lnTo>
                    <a:pt x="666750" y="0"/>
                  </a:lnTo>
                  <a:lnTo>
                    <a:pt x="19050" y="0"/>
                  </a:lnTo>
                  <a:close/>
                  <a:moveTo>
                    <a:pt x="647700" y="419233"/>
                  </a:moveTo>
                  <a:lnTo>
                    <a:pt x="19050" y="419233"/>
                  </a:lnTo>
                  <a:lnTo>
                    <a:pt x="19050" y="19050"/>
                  </a:lnTo>
                  <a:lnTo>
                    <a:pt x="64770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F65500B-457A-095A-B1D0-843CBEEAB4D8}"/>
              </a:ext>
            </a:extLst>
          </p:cNvPr>
          <p:cNvSpPr txBox="1"/>
          <p:nvPr/>
        </p:nvSpPr>
        <p:spPr>
          <a:xfrm>
            <a:off x="3547910" y="4035688"/>
            <a:ext cx="5198101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  <a:ea typeface="+mn-lt"/>
                <a:cs typeface="+mn-lt"/>
              </a:rPr>
              <a:t>https://tinyurl.com/dataclair-mlprague</a:t>
            </a:r>
            <a:endParaRPr lang="en-US" sz="2000" b="1">
              <a:solidFill>
                <a:schemeClr val="bg1"/>
              </a:solidFill>
              <a:cs typeface="Bai Jamjuree"/>
            </a:endParaRPr>
          </a:p>
        </p:txBody>
      </p:sp>
    </p:spTree>
    <p:extLst>
      <p:ext uri="{BB962C8B-B14F-4D97-AF65-F5344CB8AC3E}">
        <p14:creationId xmlns:p14="http://schemas.microsoft.com/office/powerpoint/2010/main" val="33187755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: Pentagon 1">
            <a:extLst>
              <a:ext uri="{FF2B5EF4-FFF2-40B4-BE49-F238E27FC236}">
                <a16:creationId xmlns:a16="http://schemas.microsoft.com/office/drawing/2014/main" id="{51A1FC03-BAAA-DAD2-2EC7-79D363C3D876}"/>
              </a:ext>
            </a:extLst>
          </p:cNvPr>
          <p:cNvSpPr/>
          <p:nvPr/>
        </p:nvSpPr>
        <p:spPr>
          <a:xfrm>
            <a:off x="-6981" y="-3176"/>
            <a:ext cx="5029200" cy="6858000"/>
          </a:xfrm>
          <a:prstGeom prst="homePlate">
            <a:avLst/>
          </a:prstGeom>
          <a:gradFill>
            <a:gsLst>
              <a:gs pos="5000">
                <a:schemeClr val="tx1"/>
              </a:gs>
              <a:gs pos="6600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E4E12A74-D6DB-0CBC-566A-F27FD2897717}"/>
              </a:ext>
            </a:extLst>
          </p:cNvPr>
          <p:cNvSpPr/>
          <p:nvPr/>
        </p:nvSpPr>
        <p:spPr>
          <a:xfrm>
            <a:off x="2496326" y="-3301"/>
            <a:ext cx="5029200" cy="6858000"/>
          </a:xfrm>
          <a:prstGeom prst="chevron">
            <a:avLst/>
          </a:prstGeom>
          <a:gradFill>
            <a:gsLst>
              <a:gs pos="60000">
                <a:schemeClr val="accent1"/>
              </a:gs>
              <a:gs pos="81000">
                <a:schemeClr val="accent1">
                  <a:lumMod val="60000"/>
                  <a:lumOff val="4000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ABA45C64-9639-6798-8F8E-B3291327CB69}"/>
              </a:ext>
            </a:extLst>
          </p:cNvPr>
          <p:cNvSpPr/>
          <p:nvPr/>
        </p:nvSpPr>
        <p:spPr>
          <a:xfrm>
            <a:off x="4998276" y="-3301"/>
            <a:ext cx="5029200" cy="685800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D1A47-0863-4AB4-91ED-899A161CD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D1A47-0863-4AB4-91ED-899A161CD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81F898C-A8D6-4F3F-9BC0-2A9891FE6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326" y="3204100"/>
            <a:ext cx="9533297" cy="443198"/>
          </a:xfrm>
        </p:spPr>
        <p:txBody>
          <a:bodyPr vert="horz"/>
          <a:lstStyle/>
          <a:p>
            <a:r>
              <a:rPr lang="en-US" sz="3200" b="1">
                <a:solidFill>
                  <a:schemeClr val="tx1"/>
                </a:solidFill>
                <a:ea typeface="+mn-ea"/>
                <a:cs typeface="Bai Jamjuree bold"/>
              </a:rPr>
              <a:t>2. Why evaluation accuracy is cruc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BD1EED-ADD7-4F2D-999A-6FEEF32804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37C99E-FD15-4DCC-8D86-578F5468FE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747106E-8B7B-1198-CC14-41B29DF14D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1754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It is difficult to optimize LLM systems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13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ovéPole 3">
            <a:extLst>
              <a:ext uri="{FF2B5EF4-FFF2-40B4-BE49-F238E27FC236}">
                <a16:creationId xmlns:a16="http://schemas.microsoft.com/office/drawing/2014/main" id="{6F51A9BE-BCFB-7148-0358-E481059F5DC0}"/>
              </a:ext>
            </a:extLst>
          </p:cNvPr>
          <p:cNvSpPr txBox="1"/>
          <p:nvPr/>
        </p:nvSpPr>
        <p:spPr>
          <a:xfrm>
            <a:off x="965198" y="3332611"/>
            <a:ext cx="9009069" cy="96180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>
                <a:solidFill>
                  <a:schemeClr val="bg1"/>
                </a:solidFill>
                <a:cs typeface="Bai Jamjuree"/>
              </a:rPr>
              <a:t>RAG system is much more complex and looking for </a:t>
            </a:r>
            <a:r>
              <a:rPr lang="en-US" sz="2000" b="1">
                <a:solidFill>
                  <a:schemeClr val="bg1"/>
                </a:solidFill>
                <a:cs typeface="Bai Jamjuree"/>
              </a:rPr>
              <a:t>right composition</a:t>
            </a:r>
            <a:r>
              <a:rPr lang="en-US" sz="2000">
                <a:solidFill>
                  <a:schemeClr val="bg1"/>
                </a:solidFill>
                <a:cs typeface="Bai Jamjuree"/>
              </a:rPr>
              <a:t> and </a:t>
            </a:r>
            <a:r>
              <a:rPr lang="en-US" sz="2000" b="1">
                <a:solidFill>
                  <a:schemeClr val="accent1"/>
                </a:solidFill>
                <a:cs typeface="Bai Jamjuree"/>
              </a:rPr>
              <a:t>correct parameters</a:t>
            </a:r>
            <a:r>
              <a:rPr lang="en-US" sz="2000">
                <a:solidFill>
                  <a:schemeClr val="accent1"/>
                </a:solidFill>
                <a:cs typeface="Bai Jamjuree"/>
              </a:rPr>
              <a:t> </a:t>
            </a:r>
            <a:r>
              <a:rPr lang="en-US" sz="2000">
                <a:solidFill>
                  <a:schemeClr val="bg1"/>
                </a:solidFill>
                <a:cs typeface="Bai Jamjuree"/>
              </a:rPr>
              <a:t>of each part is very difficult</a:t>
            </a:r>
            <a:endParaRPr lang="en-US">
              <a:solidFill>
                <a:schemeClr val="bg1"/>
              </a:solidFill>
              <a:cs typeface="Bai Jamjuree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522A5B13-7B30-65AF-0BC0-4F1E36F375F2}"/>
              </a:ext>
            </a:extLst>
          </p:cNvPr>
          <p:cNvSpPr txBox="1"/>
          <p:nvPr/>
        </p:nvSpPr>
        <p:spPr>
          <a:xfrm>
            <a:off x="965200" y="1366897"/>
            <a:ext cx="9726246" cy="206210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i="1">
                <a:solidFill>
                  <a:schemeClr val="accent1"/>
                </a:solidFill>
                <a:cs typeface="Bai Jamjuree"/>
              </a:rPr>
              <a:t>Imagine optimizing simple linear regression with just a few predictors by hand</a:t>
            </a:r>
            <a:br>
              <a:rPr lang="en-US" b="1" i="1">
                <a:solidFill>
                  <a:schemeClr val="accent1"/>
                </a:solidFill>
                <a:cs typeface="Bai Jamjuree"/>
              </a:rPr>
            </a:br>
            <a:endParaRPr lang="en-US" b="1" i="1">
              <a:solidFill>
                <a:schemeClr val="accent1"/>
              </a:solidFill>
              <a:cs typeface="Bai Jamjuree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i="1">
                <a:solidFill>
                  <a:schemeClr val="bg1"/>
                </a:solidFill>
                <a:cs typeface="Bai Jamjuree"/>
              </a:rPr>
              <a:t>Changing parameter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i="1">
                <a:solidFill>
                  <a:schemeClr val="bg1"/>
                </a:solidFill>
                <a:cs typeface="Bai Jamjuree"/>
              </a:rPr>
              <a:t>Computing predictions for test observations and reviewing correctness one by on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i="1">
                <a:solidFill>
                  <a:schemeClr val="bg1"/>
                </a:solidFill>
                <a:cs typeface="Bai Jamjuree"/>
              </a:rPr>
              <a:t>Thinking how to change parameter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i="1">
                <a:solidFill>
                  <a:schemeClr val="bg1"/>
                </a:solidFill>
                <a:cs typeface="Bai Jamjuree"/>
              </a:rPr>
              <a:t>Repeat</a:t>
            </a:r>
          </a:p>
          <a:p>
            <a:pPr marL="800100" lvl="1" indent="-342900">
              <a:buFont typeface="Courier New"/>
              <a:buChar char="o"/>
            </a:pPr>
            <a:endParaRPr lang="en-US" sz="2000" i="1">
              <a:solidFill>
                <a:schemeClr val="bg1"/>
              </a:solidFill>
              <a:cs typeface="Bai Jamjuree"/>
            </a:endParaRPr>
          </a:p>
        </p:txBody>
      </p:sp>
      <p:sp>
        <p:nvSpPr>
          <p:cNvPr id="6" name="Arrow: Up 5">
            <a:extLst>
              <a:ext uri="{FF2B5EF4-FFF2-40B4-BE49-F238E27FC236}">
                <a16:creationId xmlns:a16="http://schemas.microsoft.com/office/drawing/2014/main" id="{C8A36C82-C388-E9E3-C9F3-FF3563C1BC60}"/>
              </a:ext>
            </a:extLst>
          </p:cNvPr>
          <p:cNvSpPr/>
          <p:nvPr/>
        </p:nvSpPr>
        <p:spPr>
          <a:xfrm flipV="1">
            <a:off x="5030461" y="4500693"/>
            <a:ext cx="878541" cy="654424"/>
          </a:xfrm>
          <a:prstGeom prst="up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extovéPole 3">
            <a:extLst>
              <a:ext uri="{FF2B5EF4-FFF2-40B4-BE49-F238E27FC236}">
                <a16:creationId xmlns:a16="http://schemas.microsoft.com/office/drawing/2014/main" id="{592EB7EC-9E16-2CB2-6CA1-B624131F3073}"/>
              </a:ext>
            </a:extLst>
          </p:cNvPr>
          <p:cNvSpPr txBox="1"/>
          <p:nvPr/>
        </p:nvSpPr>
        <p:spPr>
          <a:xfrm>
            <a:off x="965198" y="5259261"/>
            <a:ext cx="9009069" cy="50013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>
                <a:solidFill>
                  <a:schemeClr val="bg1"/>
                </a:solidFill>
                <a:cs typeface="Bai Jamjuree"/>
              </a:rPr>
              <a:t>Evaluating this system by hand is time consuming and frustrating</a:t>
            </a:r>
          </a:p>
        </p:txBody>
      </p:sp>
    </p:spTree>
    <p:extLst>
      <p:ext uri="{BB962C8B-B14F-4D97-AF65-F5344CB8AC3E}">
        <p14:creationId xmlns:p14="http://schemas.microsoft.com/office/powerpoint/2010/main" val="4265447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What is necessary for proper evaluation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14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ovéPole 3">
            <a:extLst>
              <a:ext uri="{FF2B5EF4-FFF2-40B4-BE49-F238E27FC236}">
                <a16:creationId xmlns:a16="http://schemas.microsoft.com/office/drawing/2014/main" id="{6F51A9BE-BCFB-7148-0358-E481059F5DC0}"/>
              </a:ext>
            </a:extLst>
          </p:cNvPr>
          <p:cNvSpPr txBox="1"/>
          <p:nvPr/>
        </p:nvSpPr>
        <p:spPr>
          <a:xfrm>
            <a:off x="965200" y="1142550"/>
            <a:ext cx="10380669" cy="51167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b="1">
                <a:solidFill>
                  <a:schemeClr val="accent1"/>
                </a:solidFill>
              </a:rPr>
              <a:t>Validation dataset </a:t>
            </a:r>
            <a:endParaRPr lang="en-US" b="1">
              <a:solidFill>
                <a:schemeClr val="accent1"/>
              </a:solidFill>
              <a:cs typeface="Bai Jamjuree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u="sng">
                <a:solidFill>
                  <a:schemeClr val="accent1"/>
                </a:solidFill>
                <a:cs typeface="Bai Jamjuree"/>
              </a:rPr>
              <a:t>Dimension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cs typeface="Bai Jamjuree"/>
              </a:rPr>
              <a:t>Question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cs typeface="Bai Jamjuree"/>
              </a:rPr>
              <a:t>Ground truth answer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cs typeface="Bai Jamjuree"/>
              </a:rPr>
              <a:t>Source metadata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cs typeface="Bai Jamjuree"/>
              </a:rPr>
              <a:t>Question categorie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cs typeface="Bai Jamjuree"/>
              </a:rPr>
              <a:t>…</a:t>
            </a:r>
          </a:p>
          <a:p>
            <a:pPr lvl="2">
              <a:lnSpc>
                <a:spcPct val="150000"/>
              </a:lnSpc>
            </a:pPr>
            <a:endParaRPr lang="en-US" sz="1600">
              <a:solidFill>
                <a:schemeClr val="bg1"/>
              </a:solidFill>
              <a:cs typeface="Bai Jamjuree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u="sng">
                <a:solidFill>
                  <a:schemeClr val="accent1"/>
                </a:solidFill>
                <a:cs typeface="Bai Jamjuree"/>
              </a:rPr>
              <a:t>Observation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cs typeface="Bai Jamjuree"/>
              </a:rPr>
              <a:t>Questions representing actual usage (majority)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cs typeface="Bai Jamjuree"/>
              </a:rPr>
              <a:t>Questions simulating non-standard usage</a:t>
            </a:r>
            <a:endParaRPr lang="en-US">
              <a:solidFill>
                <a:schemeClr val="bg1"/>
              </a:solidFill>
            </a:endParaRPr>
          </a:p>
          <a:p>
            <a:pPr marL="1714500" lvl="3" indent="-342900">
              <a:lnSpc>
                <a:spcPct val="150000"/>
              </a:lnSpc>
              <a:buFont typeface="Calibri"/>
              <a:buChar char="-"/>
            </a:pPr>
            <a:endParaRPr lang="en-US" sz="2000">
              <a:solidFill>
                <a:schemeClr val="bg1"/>
              </a:solidFill>
              <a:cs typeface="Bai Jamjuree"/>
            </a:endParaRPr>
          </a:p>
          <a:p>
            <a:pPr marL="1257300" lvl="2" indent="-342900">
              <a:lnSpc>
                <a:spcPct val="150000"/>
              </a:lnSpc>
              <a:buFont typeface="Wingdings"/>
              <a:buChar char="§"/>
            </a:pPr>
            <a:endParaRPr lang="en-US" sz="2000">
              <a:solidFill>
                <a:schemeClr val="bg1"/>
              </a:solidFill>
              <a:cs typeface="Bai Jamjuree"/>
            </a:endParaRPr>
          </a:p>
        </p:txBody>
      </p:sp>
    </p:spTree>
    <p:extLst>
      <p:ext uri="{BB962C8B-B14F-4D97-AF65-F5344CB8AC3E}">
        <p14:creationId xmlns:p14="http://schemas.microsoft.com/office/powerpoint/2010/main" val="35117271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What is necessary for proper evaluation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15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ovéPole 3">
            <a:extLst>
              <a:ext uri="{FF2B5EF4-FFF2-40B4-BE49-F238E27FC236}">
                <a16:creationId xmlns:a16="http://schemas.microsoft.com/office/drawing/2014/main" id="{6F51A9BE-BCFB-7148-0358-E481059F5DC0}"/>
              </a:ext>
            </a:extLst>
          </p:cNvPr>
          <p:cNvSpPr txBox="1"/>
          <p:nvPr/>
        </p:nvSpPr>
        <p:spPr>
          <a:xfrm>
            <a:off x="965200" y="1104272"/>
            <a:ext cx="10380669" cy="890243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b="1">
                <a:solidFill>
                  <a:schemeClr val="accent1"/>
                </a:solidFill>
              </a:rPr>
              <a:t>Metrics</a:t>
            </a:r>
            <a:endParaRPr lang="en-US">
              <a:solidFill>
                <a:schemeClr val="accent1"/>
              </a:solidFill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u="sng">
                <a:solidFill>
                  <a:schemeClr val="accent1"/>
                </a:solidFill>
                <a:cs typeface="Bai Jamjuree"/>
              </a:rPr>
              <a:t>Basic metrics</a:t>
            </a:r>
          </a:p>
          <a:p>
            <a:pPr lvl="1">
              <a:lnSpc>
                <a:spcPct val="150000"/>
              </a:lnSpc>
            </a:pPr>
            <a:r>
              <a:rPr lang="en-US" sz="1400" i="1">
                <a:solidFill>
                  <a:schemeClr val="bg1"/>
                </a:solidFill>
                <a:cs typeface="Bai Jamjuree"/>
              </a:rPr>
              <a:t>        Can be done by hand</a:t>
            </a:r>
          </a:p>
          <a:p>
            <a:pPr lvl="1">
              <a:lnSpc>
                <a:spcPct val="150000"/>
              </a:lnSpc>
            </a:pPr>
            <a:endParaRPr lang="en-US" sz="1400" i="1">
              <a:solidFill>
                <a:schemeClr val="bg1"/>
              </a:solidFill>
              <a:cs typeface="Bai Jamjuree"/>
            </a:endParaRP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/>
                </a:solidFill>
                <a:cs typeface="Bai Jamjuree"/>
              </a:rPr>
              <a:t>Correctness 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/>
                </a:solidFill>
                <a:cs typeface="Bai Jamjuree"/>
              </a:rPr>
              <a:t>Source accuracy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1">
              <a:solidFill>
                <a:schemeClr val="bg1"/>
              </a:solidFill>
              <a:cs typeface="Bai Jamjuree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u="sng">
                <a:solidFill>
                  <a:schemeClr val="accent1"/>
                </a:solidFill>
                <a:cs typeface="Bai Jamjuree"/>
              </a:rPr>
              <a:t>Advanced metrics</a:t>
            </a:r>
          </a:p>
          <a:p>
            <a:pPr lvl="1">
              <a:lnSpc>
                <a:spcPct val="150000"/>
              </a:lnSpc>
            </a:pPr>
            <a:r>
              <a:rPr lang="en-US" sz="1600">
                <a:solidFill>
                  <a:schemeClr val="bg1"/>
                </a:solidFill>
                <a:ea typeface="+mn-lt"/>
                <a:cs typeface="+mn-lt"/>
              </a:rPr>
              <a:t>     </a:t>
            </a:r>
            <a:r>
              <a:rPr lang="en-US" sz="1600" i="1">
                <a:solidFill>
                  <a:schemeClr val="bg1"/>
                </a:solidFill>
                <a:ea typeface="+mn-lt"/>
                <a:cs typeface="+mn-lt"/>
              </a:rPr>
              <a:t>I</a:t>
            </a:r>
            <a:r>
              <a:rPr lang="en-US" sz="1400" i="1">
                <a:solidFill>
                  <a:schemeClr val="bg1"/>
                </a:solidFill>
                <a:cs typeface="Bai Jamjuree"/>
              </a:rPr>
              <a:t>nfeasible to do by hand </a:t>
            </a:r>
            <a:r>
              <a:rPr lang="en-US" sz="1400" i="1">
                <a:solidFill>
                  <a:schemeClr val="bg1"/>
                </a:solidFill>
                <a:ea typeface="+mn-lt"/>
                <a:cs typeface="+mn-lt"/>
              </a:rPr>
              <a:t>(but you can use libraries such as </a:t>
            </a:r>
            <a:r>
              <a:rPr lang="en-US" sz="1400" b="1" i="1">
                <a:solidFill>
                  <a:schemeClr val="bg1"/>
                </a:solidFill>
                <a:ea typeface="+mn-lt"/>
                <a:cs typeface="+mn-lt"/>
              </a:rPr>
              <a:t>Ragas</a:t>
            </a:r>
            <a:r>
              <a:rPr lang="en-US" sz="1400" i="1">
                <a:solidFill>
                  <a:schemeClr val="bg1"/>
                </a:solidFill>
                <a:ea typeface="+mn-lt"/>
                <a:cs typeface="+mn-lt"/>
              </a:rPr>
              <a:t>)</a:t>
            </a:r>
            <a:endParaRPr lang="en-US" sz="1400">
              <a:solidFill>
                <a:schemeClr val="bg1"/>
              </a:solidFill>
              <a:ea typeface="+mn-lt"/>
              <a:cs typeface="+mn-lt"/>
            </a:endParaRPr>
          </a:p>
          <a:p>
            <a:pPr lvl="1">
              <a:lnSpc>
                <a:spcPct val="150000"/>
              </a:lnSpc>
            </a:pPr>
            <a:endParaRPr lang="en-US" sz="1400" i="1">
              <a:solidFill>
                <a:schemeClr val="bg1"/>
              </a:solidFill>
              <a:cs typeface="Bai Jamjuree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/>
                </a:solidFill>
                <a:cs typeface="Bai Jamjuree"/>
              </a:rPr>
              <a:t>Context Recall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/>
                </a:solidFill>
                <a:ea typeface="+mn-lt"/>
                <a:cs typeface="+mn-lt"/>
              </a:rPr>
              <a:t>Context Precision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/>
                </a:solidFill>
                <a:cs typeface="Bai Jamjuree"/>
              </a:rPr>
              <a:t>Faithfulnes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/>
                </a:solidFill>
                <a:cs typeface="Bai Jamjuree"/>
              </a:rPr>
              <a:t>Context Relevancy, ...</a:t>
            </a:r>
            <a:endParaRPr lang="en-US">
              <a:solidFill>
                <a:schemeClr val="bg1"/>
              </a:solidFill>
            </a:endParaRPr>
          </a:p>
          <a:p>
            <a:pPr marL="1257300" lvl="2" indent="-342900">
              <a:lnSpc>
                <a:spcPct val="150000"/>
              </a:lnSpc>
              <a:buFont typeface="Wingdings"/>
              <a:buChar char="§"/>
            </a:pPr>
            <a:endParaRPr lang="en-US" sz="1400" i="1">
              <a:solidFill>
                <a:schemeClr val="bg1"/>
              </a:solidFill>
              <a:cs typeface="Bai Jamjuree"/>
            </a:endParaRPr>
          </a:p>
          <a:p>
            <a:pPr lvl="1">
              <a:lnSpc>
                <a:spcPct val="150000"/>
              </a:lnSpc>
            </a:pPr>
            <a:r>
              <a:rPr lang="en-US" sz="1600">
                <a:solidFill>
                  <a:schemeClr val="bg1"/>
                </a:solidFill>
                <a:cs typeface="Bai Jamjuree"/>
              </a:rPr>
              <a:t>  </a:t>
            </a:r>
            <a:endParaRPr lang="en-US" sz="1400" i="1">
              <a:solidFill>
                <a:schemeClr val="bg1"/>
              </a:solidFill>
              <a:cs typeface="Bai Jamjuree"/>
            </a:endParaRPr>
          </a:p>
          <a:p>
            <a:pPr lvl="1">
              <a:lnSpc>
                <a:spcPct val="150000"/>
              </a:lnSpc>
            </a:pPr>
            <a:r>
              <a:rPr lang="en-US" sz="1400" i="1">
                <a:solidFill>
                  <a:schemeClr val="bg1"/>
                </a:solidFill>
                <a:cs typeface="Bai Jamjuree"/>
              </a:rPr>
              <a:t> </a:t>
            </a:r>
          </a:p>
          <a:p>
            <a:pPr marL="1714500" lvl="3" indent="-342900">
              <a:lnSpc>
                <a:spcPct val="150000"/>
              </a:lnSpc>
              <a:buFont typeface="Calibri"/>
              <a:buChar char="-"/>
            </a:pPr>
            <a:endParaRPr lang="en-US" sz="1600">
              <a:solidFill>
                <a:schemeClr val="bg1"/>
              </a:solidFill>
              <a:cs typeface="Bai Jamjuree"/>
            </a:endParaRPr>
          </a:p>
          <a:p>
            <a:pPr lvl="3">
              <a:lnSpc>
                <a:spcPct val="150000"/>
              </a:lnSpc>
            </a:pPr>
            <a:endParaRPr lang="en-US" sz="1600">
              <a:solidFill>
                <a:schemeClr val="bg1"/>
              </a:solidFill>
              <a:cs typeface="Bai Jamjuree"/>
            </a:endParaRPr>
          </a:p>
          <a:p>
            <a:pPr lvl="3">
              <a:lnSpc>
                <a:spcPct val="150000"/>
              </a:lnSpc>
            </a:pPr>
            <a:endParaRPr lang="en-US" sz="1600">
              <a:solidFill>
                <a:schemeClr val="bg1"/>
              </a:solidFill>
              <a:cs typeface="Bai Jamjuree"/>
            </a:endParaRPr>
          </a:p>
          <a:p>
            <a:pPr marL="1257300" lvl="2" indent="-342900">
              <a:lnSpc>
                <a:spcPct val="150000"/>
              </a:lnSpc>
              <a:buFont typeface="Wingdings"/>
              <a:buChar char="§"/>
            </a:pPr>
            <a:endParaRPr lang="en-US" sz="1600" u="sng">
              <a:solidFill>
                <a:schemeClr val="bg1"/>
              </a:solidFill>
              <a:cs typeface="Bai Jamjuree"/>
            </a:endParaRPr>
          </a:p>
          <a:p>
            <a:pPr marL="1714500" lvl="3" indent="-342900">
              <a:lnSpc>
                <a:spcPct val="150000"/>
              </a:lnSpc>
              <a:buFont typeface="Calibri"/>
              <a:buChar char="-"/>
            </a:pPr>
            <a:endParaRPr lang="en-US" sz="2000">
              <a:solidFill>
                <a:schemeClr val="bg1"/>
              </a:solidFill>
              <a:cs typeface="Bai Jamjuree"/>
            </a:endParaRPr>
          </a:p>
          <a:p>
            <a:pPr marL="1257300" lvl="2" indent="-342900">
              <a:lnSpc>
                <a:spcPct val="150000"/>
              </a:lnSpc>
              <a:buFont typeface="Wingdings"/>
              <a:buChar char="§"/>
            </a:pPr>
            <a:endParaRPr lang="en-US" sz="2000">
              <a:solidFill>
                <a:schemeClr val="bg1"/>
              </a:solidFill>
              <a:cs typeface="Bai Jamjuree"/>
            </a:endParaRPr>
          </a:p>
        </p:txBody>
      </p:sp>
    </p:spTree>
    <p:extLst>
      <p:ext uri="{BB962C8B-B14F-4D97-AF65-F5344CB8AC3E}">
        <p14:creationId xmlns:p14="http://schemas.microsoft.com/office/powerpoint/2010/main" val="8576285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D1A47-0863-4AB4-91ED-899A161CD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D1A47-0863-4AB4-91ED-899A161CD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81F898C-A8D6-4F3F-9BC0-2A9891FE6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9267" y="2015007"/>
            <a:ext cx="5308803" cy="1329595"/>
          </a:xfrm>
          <a:noFill/>
        </p:spPr>
        <p:txBody>
          <a:bodyPr vert="horz"/>
          <a:lstStyle/>
          <a:p>
            <a: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  <a:t>Practical session: </a:t>
            </a:r>
            <a:b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</a:br>
            <a:b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</a:br>
            <a: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  <a:t>Optimization with manual ev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BD1EED-ADD7-4F2D-999A-6FEEF32804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37C99E-FD15-4DCC-8D86-578F5468FE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747106E-8B7B-1198-CC14-41B29DF14D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9" name="Graphic 17" descr="Monitor outline">
            <a:extLst>
              <a:ext uri="{FF2B5EF4-FFF2-40B4-BE49-F238E27FC236}">
                <a16:creationId xmlns:a16="http://schemas.microsoft.com/office/drawing/2014/main" id="{9A84CBE7-F30F-2F6A-973D-6C6489CC10AE}"/>
              </a:ext>
            </a:extLst>
          </p:cNvPr>
          <p:cNvGrpSpPr/>
          <p:nvPr/>
        </p:nvGrpSpPr>
        <p:grpSpPr>
          <a:xfrm>
            <a:off x="2578973" y="438872"/>
            <a:ext cx="7034055" cy="5980257"/>
            <a:chOff x="9970576" y="3188005"/>
            <a:chExt cx="762000" cy="647842"/>
          </a:xfrm>
          <a:gradFill>
            <a:gsLst>
              <a:gs pos="37000">
                <a:schemeClr val="accent1"/>
              </a:gs>
              <a:gs pos="81000">
                <a:schemeClr val="accent1">
                  <a:lumMod val="60000"/>
                  <a:lumOff val="40000"/>
                </a:schemeClr>
              </a:gs>
            </a:gsLst>
            <a:lin ang="21594000" scaled="0"/>
          </a:gra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B429F90-0A60-5E1A-9F2B-36A1387D8A90}"/>
                </a:ext>
              </a:extLst>
            </p:cNvPr>
            <p:cNvSpPr/>
            <p:nvPr/>
          </p:nvSpPr>
          <p:spPr>
            <a:xfrm>
              <a:off x="9970576" y="3188005"/>
              <a:ext cx="762000" cy="647842"/>
            </a:xfrm>
            <a:custGeom>
              <a:avLst/>
              <a:gdLst>
                <a:gd name="connsiteX0" fmla="*/ 723900 w 762000"/>
                <a:gd name="connsiteY0" fmla="*/ 0 h 647842"/>
                <a:gd name="connsiteX1" fmla="*/ 38100 w 762000"/>
                <a:gd name="connsiteY1" fmla="*/ 0 h 647842"/>
                <a:gd name="connsiteX2" fmla="*/ 0 w 762000"/>
                <a:gd name="connsiteY2" fmla="*/ 38100 h 647842"/>
                <a:gd name="connsiteX3" fmla="*/ 0 w 762000"/>
                <a:gd name="connsiteY3" fmla="*/ 495443 h 647842"/>
                <a:gd name="connsiteX4" fmla="*/ 38100 w 762000"/>
                <a:gd name="connsiteY4" fmla="*/ 533543 h 647842"/>
                <a:gd name="connsiteX5" fmla="*/ 314325 w 762000"/>
                <a:gd name="connsiteY5" fmla="*/ 533543 h 647842"/>
                <a:gd name="connsiteX6" fmla="*/ 314325 w 762000"/>
                <a:gd name="connsiteY6" fmla="*/ 628793 h 647842"/>
                <a:gd name="connsiteX7" fmla="*/ 209550 w 762000"/>
                <a:gd name="connsiteY7" fmla="*/ 628793 h 647842"/>
                <a:gd name="connsiteX8" fmla="*/ 209550 w 762000"/>
                <a:gd name="connsiteY8" fmla="*/ 647843 h 647842"/>
                <a:gd name="connsiteX9" fmla="*/ 552450 w 762000"/>
                <a:gd name="connsiteY9" fmla="*/ 647843 h 647842"/>
                <a:gd name="connsiteX10" fmla="*/ 552450 w 762000"/>
                <a:gd name="connsiteY10" fmla="*/ 628793 h 647842"/>
                <a:gd name="connsiteX11" fmla="*/ 447675 w 762000"/>
                <a:gd name="connsiteY11" fmla="*/ 628793 h 647842"/>
                <a:gd name="connsiteX12" fmla="*/ 447675 w 762000"/>
                <a:gd name="connsiteY12" fmla="*/ 533543 h 647842"/>
                <a:gd name="connsiteX13" fmla="*/ 723900 w 762000"/>
                <a:gd name="connsiteY13" fmla="*/ 533543 h 647842"/>
                <a:gd name="connsiteX14" fmla="*/ 762000 w 762000"/>
                <a:gd name="connsiteY14" fmla="*/ 495443 h 647842"/>
                <a:gd name="connsiteX15" fmla="*/ 762000 w 762000"/>
                <a:gd name="connsiteY15" fmla="*/ 38100 h 647842"/>
                <a:gd name="connsiteX16" fmla="*/ 723900 w 762000"/>
                <a:gd name="connsiteY16" fmla="*/ 0 h 647842"/>
                <a:gd name="connsiteX17" fmla="*/ 428625 w 762000"/>
                <a:gd name="connsiteY17" fmla="*/ 628831 h 647842"/>
                <a:gd name="connsiteX18" fmla="*/ 333375 w 762000"/>
                <a:gd name="connsiteY18" fmla="*/ 628831 h 647842"/>
                <a:gd name="connsiteX19" fmla="*/ 333375 w 762000"/>
                <a:gd name="connsiteY19" fmla="*/ 533581 h 647842"/>
                <a:gd name="connsiteX20" fmla="*/ 428625 w 762000"/>
                <a:gd name="connsiteY20" fmla="*/ 533581 h 647842"/>
                <a:gd name="connsiteX21" fmla="*/ 742950 w 762000"/>
                <a:gd name="connsiteY21" fmla="*/ 495481 h 647842"/>
                <a:gd name="connsiteX22" fmla="*/ 723900 w 762000"/>
                <a:gd name="connsiteY22" fmla="*/ 514531 h 647842"/>
                <a:gd name="connsiteX23" fmla="*/ 38100 w 762000"/>
                <a:gd name="connsiteY23" fmla="*/ 514531 h 647842"/>
                <a:gd name="connsiteX24" fmla="*/ 19050 w 762000"/>
                <a:gd name="connsiteY24" fmla="*/ 495481 h 647842"/>
                <a:gd name="connsiteX25" fmla="*/ 19050 w 762000"/>
                <a:gd name="connsiteY25" fmla="*/ 38100 h 647842"/>
                <a:gd name="connsiteX26" fmla="*/ 38100 w 762000"/>
                <a:gd name="connsiteY26" fmla="*/ 19050 h 647842"/>
                <a:gd name="connsiteX27" fmla="*/ 723900 w 762000"/>
                <a:gd name="connsiteY27" fmla="*/ 19050 h 647842"/>
                <a:gd name="connsiteX28" fmla="*/ 742950 w 762000"/>
                <a:gd name="connsiteY28" fmla="*/ 38100 h 64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62000" h="647842">
                  <a:moveTo>
                    <a:pt x="723900" y="0"/>
                  </a:moveTo>
                  <a:lnTo>
                    <a:pt x="38100" y="0"/>
                  </a:lnTo>
                  <a:cubicBezTo>
                    <a:pt x="17084" y="63"/>
                    <a:pt x="63" y="17084"/>
                    <a:pt x="0" y="38100"/>
                  </a:cubicBezTo>
                  <a:lnTo>
                    <a:pt x="0" y="495443"/>
                  </a:lnTo>
                  <a:cubicBezTo>
                    <a:pt x="68" y="516457"/>
                    <a:pt x="17086" y="533475"/>
                    <a:pt x="38100" y="533543"/>
                  </a:cubicBezTo>
                  <a:lnTo>
                    <a:pt x="314325" y="533543"/>
                  </a:lnTo>
                  <a:lnTo>
                    <a:pt x="314325" y="628793"/>
                  </a:lnTo>
                  <a:lnTo>
                    <a:pt x="209550" y="628793"/>
                  </a:lnTo>
                  <a:lnTo>
                    <a:pt x="209550" y="647843"/>
                  </a:lnTo>
                  <a:lnTo>
                    <a:pt x="552450" y="647843"/>
                  </a:lnTo>
                  <a:lnTo>
                    <a:pt x="552450" y="628793"/>
                  </a:lnTo>
                  <a:lnTo>
                    <a:pt x="447675" y="628793"/>
                  </a:lnTo>
                  <a:lnTo>
                    <a:pt x="447675" y="533543"/>
                  </a:lnTo>
                  <a:lnTo>
                    <a:pt x="723900" y="533543"/>
                  </a:lnTo>
                  <a:cubicBezTo>
                    <a:pt x="744914" y="533475"/>
                    <a:pt x="761932" y="516457"/>
                    <a:pt x="762000" y="495443"/>
                  </a:cubicBezTo>
                  <a:lnTo>
                    <a:pt x="762000" y="38100"/>
                  </a:lnTo>
                  <a:cubicBezTo>
                    <a:pt x="761937" y="17084"/>
                    <a:pt x="744916" y="63"/>
                    <a:pt x="723900" y="0"/>
                  </a:cubicBezTo>
                  <a:close/>
                  <a:moveTo>
                    <a:pt x="428625" y="628831"/>
                  </a:moveTo>
                  <a:lnTo>
                    <a:pt x="333375" y="628831"/>
                  </a:lnTo>
                  <a:lnTo>
                    <a:pt x="333375" y="533581"/>
                  </a:lnTo>
                  <a:lnTo>
                    <a:pt x="428625" y="533581"/>
                  </a:lnTo>
                  <a:close/>
                  <a:moveTo>
                    <a:pt x="742950" y="495481"/>
                  </a:moveTo>
                  <a:cubicBezTo>
                    <a:pt x="742950" y="506002"/>
                    <a:pt x="734421" y="514531"/>
                    <a:pt x="723900" y="514531"/>
                  </a:cubicBezTo>
                  <a:lnTo>
                    <a:pt x="38100" y="514531"/>
                  </a:lnTo>
                  <a:cubicBezTo>
                    <a:pt x="27579" y="514531"/>
                    <a:pt x="19050" y="506002"/>
                    <a:pt x="19050" y="495481"/>
                  </a:cubicBezTo>
                  <a:lnTo>
                    <a:pt x="19050" y="38100"/>
                  </a:lnTo>
                  <a:cubicBezTo>
                    <a:pt x="19050" y="27579"/>
                    <a:pt x="27579" y="19050"/>
                    <a:pt x="38100" y="19050"/>
                  </a:cubicBezTo>
                  <a:lnTo>
                    <a:pt x="723900" y="19050"/>
                  </a:lnTo>
                  <a:cubicBezTo>
                    <a:pt x="734421" y="19050"/>
                    <a:pt x="742950" y="27579"/>
                    <a:pt x="742950" y="381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C357788-3425-4D3A-D26F-16AB4A465C0D}"/>
                </a:ext>
              </a:extLst>
            </p:cNvPr>
            <p:cNvSpPr/>
            <p:nvPr/>
          </p:nvSpPr>
          <p:spPr>
            <a:xfrm>
              <a:off x="10018201" y="3235630"/>
              <a:ext cx="666750" cy="438283"/>
            </a:xfrm>
            <a:custGeom>
              <a:avLst/>
              <a:gdLst>
                <a:gd name="connsiteX0" fmla="*/ 19050 w 666750"/>
                <a:gd name="connsiteY0" fmla="*/ 0 h 438283"/>
                <a:gd name="connsiteX1" fmla="*/ 0 w 666750"/>
                <a:gd name="connsiteY1" fmla="*/ 0 h 438283"/>
                <a:gd name="connsiteX2" fmla="*/ 0 w 666750"/>
                <a:gd name="connsiteY2" fmla="*/ 438283 h 438283"/>
                <a:gd name="connsiteX3" fmla="*/ 666750 w 666750"/>
                <a:gd name="connsiteY3" fmla="*/ 438283 h 438283"/>
                <a:gd name="connsiteX4" fmla="*/ 666750 w 666750"/>
                <a:gd name="connsiteY4" fmla="*/ 0 h 438283"/>
                <a:gd name="connsiteX5" fmla="*/ 19050 w 666750"/>
                <a:gd name="connsiteY5" fmla="*/ 0 h 438283"/>
                <a:gd name="connsiteX6" fmla="*/ 647700 w 666750"/>
                <a:gd name="connsiteY6" fmla="*/ 419233 h 438283"/>
                <a:gd name="connsiteX7" fmla="*/ 19050 w 666750"/>
                <a:gd name="connsiteY7" fmla="*/ 419233 h 438283"/>
                <a:gd name="connsiteX8" fmla="*/ 19050 w 666750"/>
                <a:gd name="connsiteY8" fmla="*/ 19050 h 438283"/>
                <a:gd name="connsiteX9" fmla="*/ 647700 w 666750"/>
                <a:gd name="connsiteY9" fmla="*/ 19050 h 438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0" h="438283">
                  <a:moveTo>
                    <a:pt x="19050" y="0"/>
                  </a:moveTo>
                  <a:lnTo>
                    <a:pt x="0" y="0"/>
                  </a:lnTo>
                  <a:lnTo>
                    <a:pt x="0" y="438283"/>
                  </a:lnTo>
                  <a:lnTo>
                    <a:pt x="666750" y="438283"/>
                  </a:lnTo>
                  <a:lnTo>
                    <a:pt x="666750" y="0"/>
                  </a:lnTo>
                  <a:lnTo>
                    <a:pt x="19050" y="0"/>
                  </a:lnTo>
                  <a:close/>
                  <a:moveTo>
                    <a:pt x="647700" y="419233"/>
                  </a:moveTo>
                  <a:lnTo>
                    <a:pt x="19050" y="419233"/>
                  </a:lnTo>
                  <a:lnTo>
                    <a:pt x="19050" y="19050"/>
                  </a:lnTo>
                  <a:lnTo>
                    <a:pt x="64770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34079915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: Pentagon 1">
            <a:extLst>
              <a:ext uri="{FF2B5EF4-FFF2-40B4-BE49-F238E27FC236}">
                <a16:creationId xmlns:a16="http://schemas.microsoft.com/office/drawing/2014/main" id="{51A1FC03-BAAA-DAD2-2EC7-79D363C3D876}"/>
              </a:ext>
            </a:extLst>
          </p:cNvPr>
          <p:cNvSpPr/>
          <p:nvPr/>
        </p:nvSpPr>
        <p:spPr>
          <a:xfrm>
            <a:off x="-6981" y="-3176"/>
            <a:ext cx="5029200" cy="6858000"/>
          </a:xfrm>
          <a:prstGeom prst="homePlate">
            <a:avLst/>
          </a:prstGeom>
          <a:gradFill>
            <a:gsLst>
              <a:gs pos="5000">
                <a:schemeClr val="tx1"/>
              </a:gs>
              <a:gs pos="6600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E4E12A74-D6DB-0CBC-566A-F27FD2897717}"/>
              </a:ext>
            </a:extLst>
          </p:cNvPr>
          <p:cNvSpPr/>
          <p:nvPr/>
        </p:nvSpPr>
        <p:spPr>
          <a:xfrm>
            <a:off x="2496326" y="-3301"/>
            <a:ext cx="5029200" cy="6858000"/>
          </a:xfrm>
          <a:prstGeom prst="chevron">
            <a:avLst/>
          </a:prstGeom>
          <a:gradFill>
            <a:gsLst>
              <a:gs pos="60000">
                <a:schemeClr val="accent1"/>
              </a:gs>
              <a:gs pos="81000">
                <a:schemeClr val="accent1">
                  <a:lumMod val="60000"/>
                  <a:lumOff val="4000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ABA45C64-9639-6798-8F8E-B3291327CB69}"/>
              </a:ext>
            </a:extLst>
          </p:cNvPr>
          <p:cNvSpPr/>
          <p:nvPr/>
        </p:nvSpPr>
        <p:spPr>
          <a:xfrm>
            <a:off x="4998276" y="-3301"/>
            <a:ext cx="5029200" cy="685800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D1A47-0863-4AB4-91ED-899A161CD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D1A47-0863-4AB4-91ED-899A161CD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81F898C-A8D6-4F3F-9BC0-2A9891FE6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326" y="3204100"/>
            <a:ext cx="9533298" cy="443198"/>
          </a:xfrm>
        </p:spPr>
        <p:txBody>
          <a:bodyPr vert="horz"/>
          <a:lstStyle/>
          <a:p>
            <a:r>
              <a:rPr lang="en-US" sz="3200" b="1">
                <a:solidFill>
                  <a:schemeClr val="tx1"/>
                </a:solidFill>
                <a:ea typeface="+mn-ea"/>
                <a:cs typeface="Bai Jamjuree bold"/>
              </a:rPr>
              <a:t>3. Automating RAG evalu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BD1EED-ADD7-4F2D-999A-6FEEF32804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37C99E-FD15-4DCC-8D86-578F5468FE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747106E-8B7B-1198-CC14-41B29DF14D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6937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Benchmark: Expert human labels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18</a:t>
            </a:fld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CCC1518-56FD-8A6D-36E3-EC680F9D9BA3}"/>
              </a:ext>
            </a:extLst>
          </p:cNvPr>
          <p:cNvGrpSpPr/>
          <p:nvPr/>
        </p:nvGrpSpPr>
        <p:grpSpPr>
          <a:xfrm>
            <a:off x="1401982" y="1899354"/>
            <a:ext cx="8947459" cy="4085332"/>
            <a:chOff x="1868773" y="2129551"/>
            <a:chExt cx="8947459" cy="4085332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9D7A523-2155-FF14-0DE3-5F47E2941284}"/>
                </a:ext>
              </a:extLst>
            </p:cNvPr>
            <p:cNvSpPr/>
            <p:nvPr/>
          </p:nvSpPr>
          <p:spPr>
            <a:xfrm>
              <a:off x="2390681" y="2129551"/>
              <a:ext cx="4368058" cy="652896"/>
            </a:xfrm>
            <a:custGeom>
              <a:avLst/>
              <a:gdLst>
                <a:gd name="connsiteX0" fmla="*/ 0 w 978855"/>
                <a:gd name="connsiteY0" fmla="*/ 0 h 652896"/>
                <a:gd name="connsiteX1" fmla="*/ 978855 w 978855"/>
                <a:gd name="connsiteY1" fmla="*/ 0 h 652896"/>
                <a:gd name="connsiteX2" fmla="*/ 978855 w 978855"/>
                <a:gd name="connsiteY2" fmla="*/ 652896 h 652896"/>
                <a:gd name="connsiteX3" fmla="*/ 0 w 978855"/>
                <a:gd name="connsiteY3" fmla="*/ 652896 h 652896"/>
                <a:gd name="connsiteX4" fmla="*/ 0 w 978855"/>
                <a:gd name="connsiteY4" fmla="*/ 0 h 65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8855" h="652896">
                  <a:moveTo>
                    <a:pt x="0" y="0"/>
                  </a:moveTo>
                  <a:lnTo>
                    <a:pt x="978855" y="0"/>
                  </a:lnTo>
                  <a:lnTo>
                    <a:pt x="978855" y="652896"/>
                  </a:lnTo>
                  <a:lnTo>
                    <a:pt x="0" y="652896"/>
                  </a:lnTo>
                  <a:lnTo>
                    <a:pt x="0" y="0"/>
                  </a:lnTo>
                  <a:close/>
                </a:path>
              </a:pathLst>
            </a:custGeom>
            <a:noFill/>
          </p:spPr>
          <p:style>
            <a:lnRef idx="2">
              <a:schemeClr val="dk1"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6617" tIns="128016" rIns="128016" bIns="128016" numCol="1" spcCol="1270" anchor="ctr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>
                  <a:solidFill>
                    <a:schemeClr val="bg1"/>
                  </a:solidFill>
                  <a:cs typeface="Bai Jamjuree"/>
                </a:rPr>
                <a:t>Use previously created </a:t>
              </a:r>
              <a:r>
                <a:rPr lang="en-US" sz="1800" b="1" kern="1200">
                  <a:solidFill>
                    <a:schemeClr val="bg1"/>
                  </a:solidFill>
                  <a:cs typeface="Bai Jamjuree"/>
                </a:rPr>
                <a:t>Test set</a:t>
              </a:r>
              <a:endParaRPr lang="cs-CZ" sz="1800" kern="1200">
                <a:solidFill>
                  <a:schemeClr val="bg1"/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CA8DEE9-6B29-F5EE-B57C-CC3CD5CC51A7}"/>
                </a:ext>
              </a:extLst>
            </p:cNvPr>
            <p:cNvSpPr/>
            <p:nvPr/>
          </p:nvSpPr>
          <p:spPr>
            <a:xfrm>
              <a:off x="1868773" y="2186574"/>
              <a:ext cx="521909" cy="541122"/>
            </a:xfrm>
            <a:custGeom>
              <a:avLst/>
              <a:gdLst>
                <a:gd name="connsiteX0" fmla="*/ 0 w 652570"/>
                <a:gd name="connsiteY0" fmla="*/ 326285 h 652570"/>
                <a:gd name="connsiteX1" fmla="*/ 326285 w 652570"/>
                <a:gd name="connsiteY1" fmla="*/ 0 h 652570"/>
                <a:gd name="connsiteX2" fmla="*/ 652570 w 652570"/>
                <a:gd name="connsiteY2" fmla="*/ 326285 h 652570"/>
                <a:gd name="connsiteX3" fmla="*/ 326285 w 652570"/>
                <a:gd name="connsiteY3" fmla="*/ 652570 h 652570"/>
                <a:gd name="connsiteX4" fmla="*/ 0 w 652570"/>
                <a:gd name="connsiteY4" fmla="*/ 326285 h 65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570" h="652570">
                  <a:moveTo>
                    <a:pt x="0" y="326285"/>
                  </a:moveTo>
                  <a:cubicBezTo>
                    <a:pt x="0" y="146083"/>
                    <a:pt x="146083" y="0"/>
                    <a:pt x="326285" y="0"/>
                  </a:cubicBezTo>
                  <a:cubicBezTo>
                    <a:pt x="506487" y="0"/>
                    <a:pt x="652570" y="146083"/>
                    <a:pt x="652570" y="326285"/>
                  </a:cubicBezTo>
                  <a:cubicBezTo>
                    <a:pt x="652570" y="506487"/>
                    <a:pt x="506487" y="652570"/>
                    <a:pt x="326285" y="652570"/>
                  </a:cubicBezTo>
                  <a:cubicBezTo>
                    <a:pt x="146083" y="652570"/>
                    <a:pt x="0" y="506487"/>
                    <a:pt x="0" y="32628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567" tIns="95567" rIns="95567" bIns="95567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>
                  <a:solidFill>
                    <a:schemeClr val="tx1"/>
                  </a:solidFill>
                </a:rPr>
                <a:t>1</a:t>
              </a:r>
              <a:endParaRPr lang="cs-CZ" sz="1800" kern="1200">
                <a:solidFill>
                  <a:schemeClr val="tx1"/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74487CF3-3B53-6FC5-F57E-3A16C18897B1}"/>
                </a:ext>
              </a:extLst>
            </p:cNvPr>
            <p:cNvSpPr/>
            <p:nvPr/>
          </p:nvSpPr>
          <p:spPr>
            <a:xfrm>
              <a:off x="2651636" y="3127603"/>
              <a:ext cx="4130573" cy="652896"/>
            </a:xfrm>
            <a:custGeom>
              <a:avLst/>
              <a:gdLst>
                <a:gd name="connsiteX0" fmla="*/ 0 w 978855"/>
                <a:gd name="connsiteY0" fmla="*/ 0 h 652896"/>
                <a:gd name="connsiteX1" fmla="*/ 978855 w 978855"/>
                <a:gd name="connsiteY1" fmla="*/ 0 h 652896"/>
                <a:gd name="connsiteX2" fmla="*/ 978855 w 978855"/>
                <a:gd name="connsiteY2" fmla="*/ 652896 h 652896"/>
                <a:gd name="connsiteX3" fmla="*/ 0 w 978855"/>
                <a:gd name="connsiteY3" fmla="*/ 652896 h 652896"/>
                <a:gd name="connsiteX4" fmla="*/ 0 w 978855"/>
                <a:gd name="connsiteY4" fmla="*/ 0 h 65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8855" h="652896">
                  <a:moveTo>
                    <a:pt x="0" y="0"/>
                  </a:moveTo>
                  <a:lnTo>
                    <a:pt x="978855" y="0"/>
                  </a:lnTo>
                  <a:lnTo>
                    <a:pt x="978855" y="652896"/>
                  </a:lnTo>
                  <a:lnTo>
                    <a:pt x="0" y="652896"/>
                  </a:lnTo>
                  <a:lnTo>
                    <a:pt x="0" y="0"/>
                  </a:lnTo>
                  <a:close/>
                </a:path>
              </a:pathLst>
            </a:custGeom>
            <a:noFill/>
          </p:spPr>
          <p:style>
            <a:lnRef idx="2">
              <a:schemeClr val="dk1"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6617" tIns="42672" rIns="42672" bIns="42672" numCol="1" spcCol="1270" anchor="ctr" anchorCtr="0">
              <a:noAutofit/>
            </a:bodyPr>
            <a:lstStyle/>
            <a:p>
              <a:pPr marL="0" lvl="0" indent="0" algn="l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>
                  <a:solidFill>
                    <a:schemeClr val="bg1"/>
                  </a:solidFill>
                  <a:cs typeface="Bai Jamjuree"/>
                </a:rPr>
                <a:t>Answer the questions using RAG</a:t>
              </a:r>
              <a:endParaRPr lang="cs-CZ" kern="1200">
                <a:solidFill>
                  <a:schemeClr val="bg1"/>
                </a:solidFill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B6E4E5F-F203-27C4-3971-530FFBD22C3B}"/>
                </a:ext>
              </a:extLst>
            </p:cNvPr>
            <p:cNvSpPr/>
            <p:nvPr/>
          </p:nvSpPr>
          <p:spPr>
            <a:xfrm>
              <a:off x="2129727" y="3183490"/>
              <a:ext cx="521909" cy="541122"/>
            </a:xfrm>
            <a:custGeom>
              <a:avLst/>
              <a:gdLst>
                <a:gd name="connsiteX0" fmla="*/ 0 w 652570"/>
                <a:gd name="connsiteY0" fmla="*/ 326285 h 652570"/>
                <a:gd name="connsiteX1" fmla="*/ 326285 w 652570"/>
                <a:gd name="connsiteY1" fmla="*/ 0 h 652570"/>
                <a:gd name="connsiteX2" fmla="*/ 652570 w 652570"/>
                <a:gd name="connsiteY2" fmla="*/ 326285 h 652570"/>
                <a:gd name="connsiteX3" fmla="*/ 326285 w 652570"/>
                <a:gd name="connsiteY3" fmla="*/ 652570 h 652570"/>
                <a:gd name="connsiteX4" fmla="*/ 0 w 652570"/>
                <a:gd name="connsiteY4" fmla="*/ 326285 h 65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570" h="652570">
                  <a:moveTo>
                    <a:pt x="0" y="326285"/>
                  </a:moveTo>
                  <a:cubicBezTo>
                    <a:pt x="0" y="146083"/>
                    <a:pt x="146083" y="0"/>
                    <a:pt x="326285" y="0"/>
                  </a:cubicBezTo>
                  <a:cubicBezTo>
                    <a:pt x="506487" y="0"/>
                    <a:pt x="652570" y="146083"/>
                    <a:pt x="652570" y="326285"/>
                  </a:cubicBezTo>
                  <a:cubicBezTo>
                    <a:pt x="652570" y="506487"/>
                    <a:pt x="506487" y="652570"/>
                    <a:pt x="326285" y="652570"/>
                  </a:cubicBezTo>
                  <a:cubicBezTo>
                    <a:pt x="146083" y="652570"/>
                    <a:pt x="0" y="506487"/>
                    <a:pt x="0" y="32628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567" tIns="95567" rIns="95567" bIns="95567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>
                  <a:solidFill>
                    <a:schemeClr val="tx1"/>
                  </a:solidFill>
                </a:rPr>
                <a:t>2</a:t>
              </a:r>
              <a:endParaRPr lang="cs-CZ" sz="1800" kern="1200">
                <a:solidFill>
                  <a:schemeClr val="tx1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DB8E9BB-5E32-45BD-8029-063848738711}"/>
                </a:ext>
              </a:extLst>
            </p:cNvPr>
            <p:cNvSpPr/>
            <p:nvPr/>
          </p:nvSpPr>
          <p:spPr>
            <a:xfrm>
              <a:off x="2912590" y="4198701"/>
              <a:ext cx="6898532" cy="652896"/>
            </a:xfrm>
            <a:custGeom>
              <a:avLst/>
              <a:gdLst>
                <a:gd name="connsiteX0" fmla="*/ 0 w 978855"/>
                <a:gd name="connsiteY0" fmla="*/ 0 h 652896"/>
                <a:gd name="connsiteX1" fmla="*/ 978855 w 978855"/>
                <a:gd name="connsiteY1" fmla="*/ 0 h 652896"/>
                <a:gd name="connsiteX2" fmla="*/ 978855 w 978855"/>
                <a:gd name="connsiteY2" fmla="*/ 652896 h 652896"/>
                <a:gd name="connsiteX3" fmla="*/ 0 w 978855"/>
                <a:gd name="connsiteY3" fmla="*/ 652896 h 652896"/>
                <a:gd name="connsiteX4" fmla="*/ 0 w 978855"/>
                <a:gd name="connsiteY4" fmla="*/ 0 h 65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8855" h="652896">
                  <a:moveTo>
                    <a:pt x="0" y="0"/>
                  </a:moveTo>
                  <a:lnTo>
                    <a:pt x="978855" y="0"/>
                  </a:lnTo>
                  <a:lnTo>
                    <a:pt x="978855" y="652896"/>
                  </a:lnTo>
                  <a:lnTo>
                    <a:pt x="0" y="652896"/>
                  </a:lnTo>
                  <a:lnTo>
                    <a:pt x="0" y="0"/>
                  </a:lnTo>
                  <a:close/>
                </a:path>
              </a:pathLst>
            </a:custGeom>
            <a:noFill/>
          </p:spPr>
          <p:style>
            <a:lnRef idx="2">
              <a:schemeClr val="dk1"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6617" tIns="42672" rIns="42672" bIns="42672" numCol="1" spcCol="1270" anchor="t" anchorCtr="0">
              <a:noAutofit/>
            </a:bodyPr>
            <a:lstStyle/>
            <a:p>
              <a:pPr marL="0" lvl="0" indent="0" algn="l"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kern="1200">
                  <a:solidFill>
                    <a:schemeClr val="bg1"/>
                  </a:solidFill>
                  <a:cs typeface="Bai Jamjuree"/>
                </a:rPr>
                <a:t>Let domain expert </a:t>
              </a:r>
              <a:r>
                <a:rPr lang="en-US" b="1" kern="1200">
                  <a:solidFill>
                    <a:schemeClr val="bg1"/>
                  </a:solidFill>
                  <a:cs typeface="Bai Jamjuree"/>
                </a:rPr>
                <a:t>label RAG answers</a:t>
              </a:r>
              <a:endParaRPr lang="cs-CZ" kern="1200">
                <a:solidFill>
                  <a:schemeClr val="bg1"/>
                </a:solidFill>
              </a:endParaRPr>
            </a:p>
            <a:p>
              <a:pPr marL="0" lvl="1" algn="l" defTabSz="2222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kern="1200">
                  <a:solidFill>
                    <a:schemeClr val="bg1"/>
                  </a:solidFill>
                  <a:cs typeface="Bai Jamjuree"/>
                </a:rPr>
                <a:t>		Correct X Incorrect </a:t>
              </a:r>
              <a:r>
                <a:rPr lang="en-US" sz="1400" kern="1200">
                  <a:solidFill>
                    <a:schemeClr val="bg1"/>
                  </a:solidFill>
                  <a:cs typeface="Bai Jamjuree"/>
                </a:rPr>
                <a:t>(ideally just those 2 to keep it simple)</a:t>
              </a:r>
              <a:endParaRPr lang="en-US" kern="1200">
                <a:solidFill>
                  <a:schemeClr val="bg1"/>
                </a:solidFill>
                <a:cs typeface="Bai Jamjuree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170D885-4421-D7BD-8B02-AE2D46FC497C}"/>
                </a:ext>
              </a:extLst>
            </p:cNvPr>
            <p:cNvSpPr/>
            <p:nvPr/>
          </p:nvSpPr>
          <p:spPr>
            <a:xfrm>
              <a:off x="2390682" y="4188537"/>
              <a:ext cx="521909" cy="541122"/>
            </a:xfrm>
            <a:custGeom>
              <a:avLst/>
              <a:gdLst>
                <a:gd name="connsiteX0" fmla="*/ 0 w 652570"/>
                <a:gd name="connsiteY0" fmla="*/ 326285 h 652570"/>
                <a:gd name="connsiteX1" fmla="*/ 326285 w 652570"/>
                <a:gd name="connsiteY1" fmla="*/ 0 h 652570"/>
                <a:gd name="connsiteX2" fmla="*/ 652570 w 652570"/>
                <a:gd name="connsiteY2" fmla="*/ 326285 h 652570"/>
                <a:gd name="connsiteX3" fmla="*/ 326285 w 652570"/>
                <a:gd name="connsiteY3" fmla="*/ 652570 h 652570"/>
                <a:gd name="connsiteX4" fmla="*/ 0 w 652570"/>
                <a:gd name="connsiteY4" fmla="*/ 326285 h 65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570" h="652570">
                  <a:moveTo>
                    <a:pt x="0" y="326285"/>
                  </a:moveTo>
                  <a:cubicBezTo>
                    <a:pt x="0" y="146083"/>
                    <a:pt x="146083" y="0"/>
                    <a:pt x="326285" y="0"/>
                  </a:cubicBezTo>
                  <a:cubicBezTo>
                    <a:pt x="506487" y="0"/>
                    <a:pt x="652570" y="146083"/>
                    <a:pt x="652570" y="326285"/>
                  </a:cubicBezTo>
                  <a:cubicBezTo>
                    <a:pt x="652570" y="506487"/>
                    <a:pt x="506487" y="652570"/>
                    <a:pt x="326285" y="652570"/>
                  </a:cubicBezTo>
                  <a:cubicBezTo>
                    <a:pt x="146083" y="652570"/>
                    <a:pt x="0" y="506487"/>
                    <a:pt x="0" y="32628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567" tIns="95567" rIns="95567" bIns="95567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>
                  <a:solidFill>
                    <a:schemeClr val="tx1"/>
                  </a:solidFill>
                </a:rPr>
                <a:t>3</a:t>
              </a:r>
              <a:endParaRPr lang="cs-CZ" sz="1800" kern="1200">
                <a:solidFill>
                  <a:schemeClr val="tx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D0770C0-8FAF-C43F-9357-CA4C26CB5CD8}"/>
                </a:ext>
              </a:extLst>
            </p:cNvPr>
            <p:cNvSpPr/>
            <p:nvPr/>
          </p:nvSpPr>
          <p:spPr>
            <a:xfrm>
              <a:off x="3232161" y="5220066"/>
              <a:ext cx="7584071" cy="994817"/>
            </a:xfrm>
            <a:custGeom>
              <a:avLst/>
              <a:gdLst>
                <a:gd name="connsiteX0" fmla="*/ 0 w 978855"/>
                <a:gd name="connsiteY0" fmla="*/ 0 h 652896"/>
                <a:gd name="connsiteX1" fmla="*/ 978855 w 978855"/>
                <a:gd name="connsiteY1" fmla="*/ 0 h 652896"/>
                <a:gd name="connsiteX2" fmla="*/ 978855 w 978855"/>
                <a:gd name="connsiteY2" fmla="*/ 652896 h 652896"/>
                <a:gd name="connsiteX3" fmla="*/ 0 w 978855"/>
                <a:gd name="connsiteY3" fmla="*/ 652896 h 652896"/>
                <a:gd name="connsiteX4" fmla="*/ 0 w 978855"/>
                <a:gd name="connsiteY4" fmla="*/ 0 h 65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8855" h="652896">
                  <a:moveTo>
                    <a:pt x="0" y="0"/>
                  </a:moveTo>
                  <a:lnTo>
                    <a:pt x="978855" y="0"/>
                  </a:lnTo>
                  <a:lnTo>
                    <a:pt x="978855" y="652896"/>
                  </a:lnTo>
                  <a:lnTo>
                    <a:pt x="0" y="652896"/>
                  </a:lnTo>
                  <a:lnTo>
                    <a:pt x="0" y="0"/>
                  </a:lnTo>
                  <a:close/>
                </a:path>
              </a:pathLst>
            </a:custGeom>
            <a:noFill/>
          </p:spPr>
          <p:style>
            <a:lnRef idx="2">
              <a:schemeClr val="dk1"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6617" tIns="42672" rIns="42672" bIns="42672" numCol="1" spcCol="1270" anchor="ctr" anchorCtr="0">
              <a:noAutofit/>
            </a:bodyPr>
            <a:lstStyle/>
            <a:p>
              <a:pPr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>
                  <a:solidFill>
                    <a:schemeClr val="bg1"/>
                  </a:solidFill>
                  <a:cs typeface="Bai Jamjuree"/>
                </a:rPr>
                <a:t>Use this data to create evaluation system that </a:t>
              </a:r>
              <a:r>
                <a:rPr lang="en-US" b="1">
                  <a:solidFill>
                    <a:schemeClr val="bg1"/>
                  </a:solidFill>
                  <a:cs typeface="Bai Jamjuree"/>
                </a:rPr>
                <a:t>evaluates similarly as the domain expert </a:t>
              </a:r>
            </a:p>
            <a:p>
              <a:pPr defTabSz="266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b="1">
                <a:solidFill>
                  <a:schemeClr val="bg1"/>
                </a:solidFill>
                <a:cs typeface="Bai Jamjuree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94DD34D-2C4D-304D-8AF8-1085D4C8509C}"/>
                </a:ext>
              </a:extLst>
            </p:cNvPr>
            <p:cNvSpPr/>
            <p:nvPr/>
          </p:nvSpPr>
          <p:spPr>
            <a:xfrm>
              <a:off x="2651636" y="5270049"/>
              <a:ext cx="521909" cy="541122"/>
            </a:xfrm>
            <a:custGeom>
              <a:avLst/>
              <a:gdLst>
                <a:gd name="connsiteX0" fmla="*/ 0 w 652570"/>
                <a:gd name="connsiteY0" fmla="*/ 326285 h 652570"/>
                <a:gd name="connsiteX1" fmla="*/ 326285 w 652570"/>
                <a:gd name="connsiteY1" fmla="*/ 0 h 652570"/>
                <a:gd name="connsiteX2" fmla="*/ 652570 w 652570"/>
                <a:gd name="connsiteY2" fmla="*/ 326285 h 652570"/>
                <a:gd name="connsiteX3" fmla="*/ 326285 w 652570"/>
                <a:gd name="connsiteY3" fmla="*/ 652570 h 652570"/>
                <a:gd name="connsiteX4" fmla="*/ 0 w 652570"/>
                <a:gd name="connsiteY4" fmla="*/ 326285 h 65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570" h="652570">
                  <a:moveTo>
                    <a:pt x="0" y="326285"/>
                  </a:moveTo>
                  <a:cubicBezTo>
                    <a:pt x="0" y="146083"/>
                    <a:pt x="146083" y="0"/>
                    <a:pt x="326285" y="0"/>
                  </a:cubicBezTo>
                  <a:cubicBezTo>
                    <a:pt x="506487" y="0"/>
                    <a:pt x="652570" y="146083"/>
                    <a:pt x="652570" y="326285"/>
                  </a:cubicBezTo>
                  <a:cubicBezTo>
                    <a:pt x="652570" y="506487"/>
                    <a:pt x="506487" y="652570"/>
                    <a:pt x="326285" y="652570"/>
                  </a:cubicBezTo>
                  <a:cubicBezTo>
                    <a:pt x="146083" y="652570"/>
                    <a:pt x="0" y="506487"/>
                    <a:pt x="0" y="32628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567" tIns="95567" rIns="95567" bIns="95567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>
                  <a:solidFill>
                    <a:schemeClr val="tx1"/>
                  </a:solidFill>
                </a:rPr>
                <a:t>4</a:t>
              </a:r>
              <a:endParaRPr lang="cs-CZ" sz="1800" kern="1200">
                <a:solidFill>
                  <a:schemeClr val="tx1"/>
                </a:solidFill>
              </a:endParaRPr>
            </a:p>
          </p:txBody>
        </p:sp>
      </p:grpSp>
      <p:sp>
        <p:nvSpPr>
          <p:cNvPr id="15" name="TextovéPole 3">
            <a:extLst>
              <a:ext uri="{FF2B5EF4-FFF2-40B4-BE49-F238E27FC236}">
                <a16:creationId xmlns:a16="http://schemas.microsoft.com/office/drawing/2014/main" id="{9E44D93E-DEEF-5F41-0F9D-FD09B85B777F}"/>
              </a:ext>
            </a:extLst>
          </p:cNvPr>
          <p:cNvSpPr txBox="1"/>
          <p:nvPr/>
        </p:nvSpPr>
        <p:spPr>
          <a:xfrm>
            <a:off x="989686" y="1301322"/>
            <a:ext cx="8354646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>
                <a:solidFill>
                  <a:schemeClr val="accent1"/>
                </a:solidFill>
                <a:cs typeface="Bai Jamjuree"/>
              </a:rPr>
              <a:t>Process:</a:t>
            </a:r>
            <a:br>
              <a:rPr lang="en-US" sz="2000">
                <a:solidFill>
                  <a:schemeClr val="bg1"/>
                </a:solidFill>
                <a:cs typeface="Bai Jamjuree"/>
              </a:rPr>
            </a:br>
            <a:endParaRPr lang="en-US" sz="2000">
              <a:solidFill>
                <a:schemeClr val="bg1"/>
              </a:solidFill>
              <a:cs typeface="Bai Jamjuree"/>
            </a:endParaRPr>
          </a:p>
        </p:txBody>
      </p:sp>
    </p:spTree>
    <p:extLst>
      <p:ext uri="{BB962C8B-B14F-4D97-AF65-F5344CB8AC3E}">
        <p14:creationId xmlns:p14="http://schemas.microsoft.com/office/powerpoint/2010/main" val="598196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Creating evaluation pipelin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dirty="0" smtClean="0">
                <a:solidFill>
                  <a:schemeClr val="bg1"/>
                </a:solidFill>
              </a:rPr>
              <a:t>19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Zaoblený obdélník 25">
            <a:extLst>
              <a:ext uri="{FF2B5EF4-FFF2-40B4-BE49-F238E27FC236}">
                <a16:creationId xmlns:a16="http://schemas.microsoft.com/office/drawing/2014/main" id="{1F3E1163-06E1-B4E9-006D-BFB519054D22}"/>
              </a:ext>
            </a:extLst>
          </p:cNvPr>
          <p:cNvSpPr/>
          <p:nvPr/>
        </p:nvSpPr>
        <p:spPr>
          <a:xfrm>
            <a:off x="688734" y="2922461"/>
            <a:ext cx="1440000" cy="720000"/>
          </a:xfrm>
          <a:prstGeom prst="roundRect">
            <a:avLst/>
          </a:prstGeom>
          <a:solidFill>
            <a:schemeClr val="tx1"/>
          </a:solidFill>
          <a:ln w="158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  <a:cs typeface="Bai Jamjuree"/>
              </a:rPr>
              <a:t>Test set</a:t>
            </a:r>
          </a:p>
        </p:txBody>
      </p:sp>
      <p:cxnSp>
        <p:nvCxnSpPr>
          <p:cNvPr id="12" name="Přímá spojovací šipka 10">
            <a:extLst>
              <a:ext uri="{FF2B5EF4-FFF2-40B4-BE49-F238E27FC236}">
                <a16:creationId xmlns:a16="http://schemas.microsoft.com/office/drawing/2014/main" id="{B68B5DCA-F29A-3BCF-5799-D57DDA539DA5}"/>
              </a:ext>
            </a:extLst>
          </p:cNvPr>
          <p:cNvCxnSpPr>
            <a:cxnSpLocks/>
          </p:cNvCxnSpPr>
          <p:nvPr/>
        </p:nvCxnSpPr>
        <p:spPr>
          <a:xfrm>
            <a:off x="2266613" y="3287331"/>
            <a:ext cx="746069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Zaoblený obdélník 7">
            <a:extLst>
              <a:ext uri="{FF2B5EF4-FFF2-40B4-BE49-F238E27FC236}">
                <a16:creationId xmlns:a16="http://schemas.microsoft.com/office/drawing/2014/main" id="{185126B0-48CD-DFBB-367A-B4D664705978}"/>
              </a:ext>
            </a:extLst>
          </p:cNvPr>
          <p:cNvSpPr/>
          <p:nvPr/>
        </p:nvSpPr>
        <p:spPr>
          <a:xfrm>
            <a:off x="3171534" y="2881324"/>
            <a:ext cx="1440000" cy="720000"/>
          </a:xfrm>
          <a:prstGeom prst="roundRect">
            <a:avLst/>
          </a:prstGeom>
          <a:solidFill>
            <a:schemeClr val="tx1"/>
          </a:solidFill>
          <a:ln w="15875">
            <a:solidFill>
              <a:srgbClr val="7030A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>
                <a:solidFill>
                  <a:srgbClr val="7030A0"/>
                </a:solidFill>
                <a:cs typeface="Bai Jamjuree"/>
              </a:rPr>
              <a:t>RA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603F031-F50D-61B2-989E-504301230A8C}"/>
              </a:ext>
            </a:extLst>
          </p:cNvPr>
          <p:cNvSpPr txBox="1"/>
          <p:nvPr/>
        </p:nvSpPr>
        <p:spPr>
          <a:xfrm>
            <a:off x="965200" y="1395367"/>
            <a:ext cx="3094892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solidFill>
                  <a:schemeClr val="accent1"/>
                </a:solidFill>
                <a:cs typeface="Arial"/>
              </a:rPr>
              <a:t>Training custom model</a:t>
            </a:r>
            <a:endParaRPr lang="en-US">
              <a:solidFill>
                <a:schemeClr val="accent1"/>
              </a:solidFill>
              <a:cs typeface="Bai Jamjuree"/>
            </a:endParaRPr>
          </a:p>
        </p:txBody>
      </p:sp>
      <p:cxnSp>
        <p:nvCxnSpPr>
          <p:cNvPr id="5" name="Přímá spojovací šipka 10">
            <a:extLst>
              <a:ext uri="{FF2B5EF4-FFF2-40B4-BE49-F238E27FC236}">
                <a16:creationId xmlns:a16="http://schemas.microsoft.com/office/drawing/2014/main" id="{CAC6A66D-3EF0-CE17-879F-7540B58E02B2}"/>
              </a:ext>
            </a:extLst>
          </p:cNvPr>
          <p:cNvCxnSpPr>
            <a:cxnSpLocks/>
          </p:cNvCxnSpPr>
          <p:nvPr/>
        </p:nvCxnSpPr>
        <p:spPr>
          <a:xfrm>
            <a:off x="4767536" y="3287331"/>
            <a:ext cx="746069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Zaoblený obdélník 7">
            <a:extLst>
              <a:ext uri="{FF2B5EF4-FFF2-40B4-BE49-F238E27FC236}">
                <a16:creationId xmlns:a16="http://schemas.microsoft.com/office/drawing/2014/main" id="{0D2D1647-71CE-E522-9B9E-E30B9DD4E534}"/>
              </a:ext>
            </a:extLst>
          </p:cNvPr>
          <p:cNvSpPr/>
          <p:nvPr/>
        </p:nvSpPr>
        <p:spPr>
          <a:xfrm>
            <a:off x="5916686" y="1533169"/>
            <a:ext cx="883155" cy="524616"/>
          </a:xfrm>
          <a:prstGeom prst="roundRect">
            <a:avLst/>
          </a:prstGeom>
          <a:solidFill>
            <a:schemeClr val="tx1"/>
          </a:solidFill>
          <a:ln w="15875">
            <a:solidFill>
              <a:srgbClr val="7030A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>
                <a:solidFill>
                  <a:srgbClr val="7030A0"/>
                </a:solidFill>
                <a:cs typeface="Bai Jamjuree"/>
              </a:rPr>
              <a:t>Expert</a:t>
            </a:r>
          </a:p>
        </p:txBody>
      </p:sp>
      <p:cxnSp>
        <p:nvCxnSpPr>
          <p:cNvPr id="8" name="Přímá spojovací šipka 10">
            <a:extLst>
              <a:ext uri="{FF2B5EF4-FFF2-40B4-BE49-F238E27FC236}">
                <a16:creationId xmlns:a16="http://schemas.microsoft.com/office/drawing/2014/main" id="{4A1EB20F-ABD7-C704-4B66-73FFB85DC2E9}"/>
              </a:ext>
            </a:extLst>
          </p:cNvPr>
          <p:cNvCxnSpPr>
            <a:cxnSpLocks/>
          </p:cNvCxnSpPr>
          <p:nvPr/>
        </p:nvCxnSpPr>
        <p:spPr>
          <a:xfrm>
            <a:off x="6340382" y="2232253"/>
            <a:ext cx="3608" cy="55684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Zaoblený obdélník 25">
            <a:extLst>
              <a:ext uri="{FF2B5EF4-FFF2-40B4-BE49-F238E27FC236}">
                <a16:creationId xmlns:a16="http://schemas.microsoft.com/office/drawing/2014/main" id="{034F5C26-FB2B-D836-34D1-FD055D38533C}"/>
              </a:ext>
            </a:extLst>
          </p:cNvPr>
          <p:cNvSpPr/>
          <p:nvPr/>
        </p:nvSpPr>
        <p:spPr>
          <a:xfrm>
            <a:off x="5628057" y="2889246"/>
            <a:ext cx="1440000" cy="720000"/>
          </a:xfrm>
          <a:prstGeom prst="roundRect">
            <a:avLst/>
          </a:prstGeom>
          <a:solidFill>
            <a:schemeClr val="tx1"/>
          </a:solidFill>
          <a:ln w="158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  <a:cs typeface="Bai Jamjuree"/>
              </a:rPr>
              <a:t>Train data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Zaoblený obdélník 11">
            <a:extLst>
              <a:ext uri="{FF2B5EF4-FFF2-40B4-BE49-F238E27FC236}">
                <a16:creationId xmlns:a16="http://schemas.microsoft.com/office/drawing/2014/main" id="{00935854-AE1C-B24D-22A7-A685A11E428C}"/>
              </a:ext>
            </a:extLst>
          </p:cNvPr>
          <p:cNvSpPr/>
          <p:nvPr/>
        </p:nvSpPr>
        <p:spPr>
          <a:xfrm>
            <a:off x="8265995" y="2378146"/>
            <a:ext cx="1059727" cy="437613"/>
          </a:xfrm>
          <a:prstGeom prst="round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rgbClr val="00B050"/>
                </a:solidFill>
              </a:rPr>
              <a:t>LLM</a:t>
            </a:r>
            <a:endParaRPr lang="en-US"/>
          </a:p>
        </p:txBody>
      </p:sp>
      <p:sp>
        <p:nvSpPr>
          <p:cNvPr id="14" name="Zaoblený obdélník 11">
            <a:extLst>
              <a:ext uri="{FF2B5EF4-FFF2-40B4-BE49-F238E27FC236}">
                <a16:creationId xmlns:a16="http://schemas.microsoft.com/office/drawing/2014/main" id="{C8CDD951-DCCA-E720-9359-CEC8929A1806}"/>
              </a:ext>
            </a:extLst>
          </p:cNvPr>
          <p:cNvSpPr/>
          <p:nvPr/>
        </p:nvSpPr>
        <p:spPr>
          <a:xfrm>
            <a:off x="8265995" y="3628607"/>
            <a:ext cx="1059727" cy="437613"/>
          </a:xfrm>
          <a:prstGeom prst="round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rgbClr val="00B050"/>
                </a:solidFill>
              </a:rPr>
              <a:t>Classifier</a:t>
            </a:r>
            <a:endParaRPr lang="en-US"/>
          </a:p>
        </p:txBody>
      </p:sp>
      <p:cxnSp>
        <p:nvCxnSpPr>
          <p:cNvPr id="16" name="Přímá spojovací šipka 20">
            <a:extLst>
              <a:ext uri="{FF2B5EF4-FFF2-40B4-BE49-F238E27FC236}">
                <a16:creationId xmlns:a16="http://schemas.microsoft.com/office/drawing/2014/main" id="{719510C8-7482-E5C6-FF56-BC3F1F701797}"/>
              </a:ext>
            </a:extLst>
          </p:cNvPr>
          <p:cNvCxnSpPr>
            <a:cxnSpLocks/>
          </p:cNvCxnSpPr>
          <p:nvPr/>
        </p:nvCxnSpPr>
        <p:spPr>
          <a:xfrm flipH="1">
            <a:off x="8805149" y="2930220"/>
            <a:ext cx="1" cy="580341"/>
          </a:xfrm>
          <a:prstGeom prst="straightConnector1">
            <a:avLst/>
          </a:prstGeom>
          <a:ln w="1905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Zaoblený obdélník 47">
            <a:extLst>
              <a:ext uri="{FF2B5EF4-FFF2-40B4-BE49-F238E27FC236}">
                <a16:creationId xmlns:a16="http://schemas.microsoft.com/office/drawing/2014/main" id="{37B3EBBB-F3BE-7058-126C-852AF7C2F5D1}"/>
              </a:ext>
            </a:extLst>
          </p:cNvPr>
          <p:cNvSpPr/>
          <p:nvPr/>
        </p:nvSpPr>
        <p:spPr>
          <a:xfrm>
            <a:off x="10095599" y="2366006"/>
            <a:ext cx="877455" cy="437613"/>
          </a:xfrm>
          <a:prstGeom prst="roundRect">
            <a:avLst/>
          </a:prstGeom>
          <a:noFill/>
          <a:ln w="15875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>
                <a:solidFill>
                  <a:srgbClr val="0070C0"/>
                </a:solidFill>
              </a:rPr>
              <a:t>Classes</a:t>
            </a:r>
            <a:endParaRPr lang="en-US"/>
          </a:p>
        </p:txBody>
      </p:sp>
      <p:sp>
        <p:nvSpPr>
          <p:cNvPr id="19" name="Zaoblený obdélník 47">
            <a:extLst>
              <a:ext uri="{FF2B5EF4-FFF2-40B4-BE49-F238E27FC236}">
                <a16:creationId xmlns:a16="http://schemas.microsoft.com/office/drawing/2014/main" id="{D15F73E0-A0D9-9831-34A1-BC5B154C131A}"/>
              </a:ext>
            </a:extLst>
          </p:cNvPr>
          <p:cNvSpPr/>
          <p:nvPr/>
        </p:nvSpPr>
        <p:spPr>
          <a:xfrm>
            <a:off x="10095599" y="3616467"/>
            <a:ext cx="877455" cy="437613"/>
          </a:xfrm>
          <a:prstGeom prst="roundRect">
            <a:avLst/>
          </a:prstGeom>
          <a:noFill/>
          <a:ln w="15875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>
                <a:solidFill>
                  <a:srgbClr val="0070C0"/>
                </a:solidFill>
              </a:rPr>
              <a:t>Classes</a:t>
            </a:r>
            <a:endParaRPr lang="en-US"/>
          </a:p>
        </p:txBody>
      </p:sp>
      <p:cxnSp>
        <p:nvCxnSpPr>
          <p:cNvPr id="20" name="Přímá spojovací šipka 10">
            <a:extLst>
              <a:ext uri="{FF2B5EF4-FFF2-40B4-BE49-F238E27FC236}">
                <a16:creationId xmlns:a16="http://schemas.microsoft.com/office/drawing/2014/main" id="{96BE06DD-9C16-99FB-6848-D1E03E2F9E01}"/>
              </a:ext>
            </a:extLst>
          </p:cNvPr>
          <p:cNvCxnSpPr>
            <a:cxnSpLocks/>
          </p:cNvCxnSpPr>
          <p:nvPr/>
        </p:nvCxnSpPr>
        <p:spPr>
          <a:xfrm>
            <a:off x="9554459" y="2632794"/>
            <a:ext cx="443223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Přímá spojovací šipka 10">
            <a:extLst>
              <a:ext uri="{FF2B5EF4-FFF2-40B4-BE49-F238E27FC236}">
                <a16:creationId xmlns:a16="http://schemas.microsoft.com/office/drawing/2014/main" id="{238038D5-A130-57AE-0FCF-B436335F20CD}"/>
              </a:ext>
            </a:extLst>
          </p:cNvPr>
          <p:cNvCxnSpPr>
            <a:cxnSpLocks/>
          </p:cNvCxnSpPr>
          <p:nvPr/>
        </p:nvCxnSpPr>
        <p:spPr>
          <a:xfrm>
            <a:off x="9554459" y="3844177"/>
            <a:ext cx="443223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Zaoblený obdélník 11">
            <a:extLst>
              <a:ext uri="{FF2B5EF4-FFF2-40B4-BE49-F238E27FC236}">
                <a16:creationId xmlns:a16="http://schemas.microsoft.com/office/drawing/2014/main" id="{CB39A919-B4EF-2021-5210-7653D25C19EC}"/>
              </a:ext>
            </a:extLst>
          </p:cNvPr>
          <p:cNvSpPr/>
          <p:nvPr/>
        </p:nvSpPr>
        <p:spPr>
          <a:xfrm>
            <a:off x="8148763" y="2231606"/>
            <a:ext cx="1294187" cy="2010459"/>
          </a:xfrm>
          <a:prstGeom prst="round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200">
              <a:solidFill>
                <a:srgbClr val="00B050"/>
              </a:solidFill>
              <a:cs typeface="Bai Jamjuree"/>
            </a:endParaRPr>
          </a:p>
        </p:txBody>
      </p:sp>
      <p:cxnSp>
        <p:nvCxnSpPr>
          <p:cNvPr id="29" name="Přímá spojovací šipka 10">
            <a:extLst>
              <a:ext uri="{FF2B5EF4-FFF2-40B4-BE49-F238E27FC236}">
                <a16:creationId xmlns:a16="http://schemas.microsoft.com/office/drawing/2014/main" id="{51CC7EDE-5A59-D78C-6A7B-AB55F185F808}"/>
              </a:ext>
            </a:extLst>
          </p:cNvPr>
          <p:cNvCxnSpPr>
            <a:cxnSpLocks/>
          </p:cNvCxnSpPr>
          <p:nvPr/>
        </p:nvCxnSpPr>
        <p:spPr>
          <a:xfrm>
            <a:off x="7239151" y="3238484"/>
            <a:ext cx="746069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E8229B9C-EB1E-BCD3-1F56-4176D767A12F}"/>
              </a:ext>
            </a:extLst>
          </p:cNvPr>
          <p:cNvSpPr txBox="1"/>
          <p:nvPr/>
        </p:nvSpPr>
        <p:spPr>
          <a:xfrm>
            <a:off x="885092" y="4626707"/>
            <a:ext cx="10431584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i="1">
                <a:solidFill>
                  <a:schemeClr val="bg1"/>
                </a:solidFill>
              </a:rPr>
              <a:t>We can either </a:t>
            </a:r>
            <a:r>
              <a:rPr lang="en-US" b="1" i="1">
                <a:solidFill>
                  <a:schemeClr val="bg1"/>
                </a:solidFill>
              </a:rPr>
              <a:t>prompt LLM to evaluate RAG </a:t>
            </a:r>
            <a:r>
              <a:rPr lang="en-US" i="1">
                <a:solidFill>
                  <a:schemeClr val="bg1"/>
                </a:solidFill>
              </a:rPr>
              <a:t>answer to Ground truth </a:t>
            </a:r>
            <a:endParaRPr lang="en-US">
              <a:solidFill>
                <a:schemeClr val="bg1"/>
              </a:solidFill>
              <a:cs typeface="Bai Jamjuree"/>
            </a:endParaRPr>
          </a:p>
          <a:p>
            <a:endParaRPr lang="en-US" i="1">
              <a:solidFill>
                <a:schemeClr val="bg1"/>
              </a:solidFill>
              <a:cs typeface="Bai Jamjuree"/>
            </a:endParaRPr>
          </a:p>
          <a:p>
            <a:r>
              <a:rPr lang="en-US" i="1">
                <a:solidFill>
                  <a:schemeClr val="bg1"/>
                </a:solidFill>
                <a:cs typeface="Bai Jamjuree"/>
              </a:rPr>
              <a:t>or</a:t>
            </a:r>
            <a:endParaRPr lang="en-US">
              <a:solidFill>
                <a:schemeClr val="bg1"/>
              </a:solidFill>
              <a:cs typeface="Bai Jamjuree"/>
            </a:endParaRPr>
          </a:p>
          <a:p>
            <a:endParaRPr lang="en-US" i="1">
              <a:solidFill>
                <a:schemeClr val="bg1"/>
              </a:solidFill>
              <a:cs typeface="Bai Jamjuree"/>
            </a:endParaRPr>
          </a:p>
          <a:p>
            <a:r>
              <a:rPr lang="en-US" i="1">
                <a:solidFill>
                  <a:schemeClr val="bg1"/>
                </a:solidFill>
                <a:cs typeface="Bai Jamjuree"/>
              </a:rPr>
              <a:t>Create </a:t>
            </a:r>
            <a:r>
              <a:rPr lang="en-US" b="1" i="1">
                <a:solidFill>
                  <a:schemeClr val="bg1"/>
                </a:solidFill>
                <a:cs typeface="Bai Jamjuree"/>
              </a:rPr>
              <a:t>classifier based on various metrics</a:t>
            </a:r>
            <a:r>
              <a:rPr lang="en-US" i="1">
                <a:solidFill>
                  <a:schemeClr val="bg1"/>
                </a:solidFill>
                <a:cs typeface="Bai Jamjuree"/>
              </a:rPr>
              <a:t> (citation accuracy, etc.) and LLM inputs </a:t>
            </a:r>
          </a:p>
        </p:txBody>
      </p:sp>
    </p:spTree>
    <p:extLst>
      <p:ext uri="{BB962C8B-B14F-4D97-AF65-F5344CB8AC3E}">
        <p14:creationId xmlns:p14="http://schemas.microsoft.com/office/powerpoint/2010/main" val="8182427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: Pentagon 1">
            <a:extLst>
              <a:ext uri="{FF2B5EF4-FFF2-40B4-BE49-F238E27FC236}">
                <a16:creationId xmlns:a16="http://schemas.microsoft.com/office/drawing/2014/main" id="{51A1FC03-BAAA-DAD2-2EC7-79D363C3D876}"/>
              </a:ext>
            </a:extLst>
          </p:cNvPr>
          <p:cNvSpPr/>
          <p:nvPr/>
        </p:nvSpPr>
        <p:spPr>
          <a:xfrm>
            <a:off x="-6981" y="-3176"/>
            <a:ext cx="5029200" cy="6858000"/>
          </a:xfrm>
          <a:prstGeom prst="homePlate">
            <a:avLst/>
          </a:prstGeom>
          <a:gradFill>
            <a:gsLst>
              <a:gs pos="5000">
                <a:schemeClr val="tx1"/>
              </a:gs>
              <a:gs pos="6600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E4E12A74-D6DB-0CBC-566A-F27FD2897717}"/>
              </a:ext>
            </a:extLst>
          </p:cNvPr>
          <p:cNvSpPr/>
          <p:nvPr/>
        </p:nvSpPr>
        <p:spPr>
          <a:xfrm>
            <a:off x="2496326" y="-3301"/>
            <a:ext cx="5029200" cy="6858000"/>
          </a:xfrm>
          <a:prstGeom prst="chevron">
            <a:avLst/>
          </a:prstGeom>
          <a:gradFill>
            <a:gsLst>
              <a:gs pos="60000">
                <a:schemeClr val="accent1"/>
              </a:gs>
              <a:gs pos="81000">
                <a:schemeClr val="accent1">
                  <a:lumMod val="60000"/>
                  <a:lumOff val="4000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ABA45C64-9639-6798-8F8E-B3291327CB69}"/>
              </a:ext>
            </a:extLst>
          </p:cNvPr>
          <p:cNvSpPr/>
          <p:nvPr/>
        </p:nvSpPr>
        <p:spPr>
          <a:xfrm>
            <a:off x="4998276" y="-3301"/>
            <a:ext cx="5029200" cy="685800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D1A47-0863-4AB4-91ED-899A161CD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D1A47-0863-4AB4-91ED-899A161CD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81F898C-A8D6-4F3F-9BC0-2A9891FE6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326" y="3204100"/>
            <a:ext cx="10974172" cy="443198"/>
          </a:xfrm>
        </p:spPr>
        <p:txBody>
          <a:bodyPr vert="horz"/>
          <a:lstStyle/>
          <a:p>
            <a:r>
              <a:rPr lang="en-US" sz="3200" b="1">
                <a:solidFill>
                  <a:schemeClr val="tx1"/>
                </a:solidFill>
                <a:latin typeface="Bai Jamjuree"/>
                <a:ea typeface="+mn-ea"/>
                <a:cs typeface="Bai Jamjuree"/>
              </a:rPr>
              <a:t>What to expect?</a:t>
            </a:r>
            <a:endParaRPr lang="en-US" sz="3200">
              <a:solidFill>
                <a:schemeClr val="tx1"/>
              </a:solidFill>
              <a:ea typeface="+mn-ea"/>
              <a:cs typeface="Bai Jamjuree bold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BD1EED-ADD7-4F2D-999A-6FEEF32804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37C99E-FD15-4DCC-8D86-578F5468FE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747106E-8B7B-1198-CC14-41B29DF14D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6699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Creating evaluation pipelin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dirty="0" smtClean="0">
                <a:solidFill>
                  <a:schemeClr val="bg1"/>
                </a:solidFill>
              </a:rPr>
              <a:t>20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Zaoblený obdélník 11">
            <a:extLst>
              <a:ext uri="{FF2B5EF4-FFF2-40B4-BE49-F238E27FC236}">
                <a16:creationId xmlns:a16="http://schemas.microsoft.com/office/drawing/2014/main" id="{04B920F3-58D5-8F3A-6D7C-E4D7302B8A90}"/>
              </a:ext>
            </a:extLst>
          </p:cNvPr>
          <p:cNvSpPr/>
          <p:nvPr/>
        </p:nvSpPr>
        <p:spPr>
          <a:xfrm>
            <a:off x="3635377" y="3325759"/>
            <a:ext cx="1430956" cy="711152"/>
          </a:xfrm>
          <a:prstGeom prst="round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rgbClr val="00B050"/>
                </a:solidFill>
                <a:cs typeface="Bai Jamjuree"/>
              </a:rPr>
              <a:t>Custom mode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5B37EC7-80DF-355B-AC71-C5F8524889F2}"/>
              </a:ext>
            </a:extLst>
          </p:cNvPr>
          <p:cNvSpPr txBox="1"/>
          <p:nvPr/>
        </p:nvSpPr>
        <p:spPr>
          <a:xfrm>
            <a:off x="965200" y="1560308"/>
            <a:ext cx="3837353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solidFill>
                  <a:schemeClr val="accent1"/>
                </a:solidFill>
                <a:cs typeface="Arial"/>
              </a:rPr>
              <a:t>Creating evaluation pipeline</a:t>
            </a:r>
          </a:p>
        </p:txBody>
      </p:sp>
      <p:sp>
        <p:nvSpPr>
          <p:cNvPr id="27" name="Zaoblený obdélník 25">
            <a:extLst>
              <a:ext uri="{FF2B5EF4-FFF2-40B4-BE49-F238E27FC236}">
                <a16:creationId xmlns:a16="http://schemas.microsoft.com/office/drawing/2014/main" id="{B620A75E-B948-B353-EEF8-A109FBD97EF1}"/>
              </a:ext>
            </a:extLst>
          </p:cNvPr>
          <p:cNvSpPr/>
          <p:nvPr/>
        </p:nvSpPr>
        <p:spPr>
          <a:xfrm>
            <a:off x="987672" y="3846631"/>
            <a:ext cx="1440000" cy="720000"/>
          </a:xfrm>
          <a:prstGeom prst="roundRect">
            <a:avLst/>
          </a:prstGeom>
          <a:solidFill>
            <a:schemeClr val="tx1"/>
          </a:solidFill>
          <a:ln w="158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  <a:cs typeface="Bai Jamjuree"/>
              </a:rPr>
              <a:t>Test set</a:t>
            </a:r>
          </a:p>
        </p:txBody>
      </p:sp>
      <p:cxnSp>
        <p:nvCxnSpPr>
          <p:cNvPr id="28" name="Přímá spojovací šipka 10">
            <a:extLst>
              <a:ext uri="{FF2B5EF4-FFF2-40B4-BE49-F238E27FC236}">
                <a16:creationId xmlns:a16="http://schemas.microsoft.com/office/drawing/2014/main" id="{9B221A10-F0F2-9C47-3656-FFF53AF0B7A0}"/>
              </a:ext>
            </a:extLst>
          </p:cNvPr>
          <p:cNvCxnSpPr>
            <a:cxnSpLocks/>
          </p:cNvCxnSpPr>
          <p:nvPr/>
        </p:nvCxnSpPr>
        <p:spPr>
          <a:xfrm flipV="1">
            <a:off x="2559690" y="3658563"/>
            <a:ext cx="970761" cy="55684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Zaoblený obdélník 11">
            <a:extLst>
              <a:ext uri="{FF2B5EF4-FFF2-40B4-BE49-F238E27FC236}">
                <a16:creationId xmlns:a16="http://schemas.microsoft.com/office/drawing/2014/main" id="{1D242ED9-79BD-F922-A289-E663D763A056}"/>
              </a:ext>
            </a:extLst>
          </p:cNvPr>
          <p:cNvSpPr/>
          <p:nvPr/>
        </p:nvSpPr>
        <p:spPr>
          <a:xfrm>
            <a:off x="3635376" y="4390605"/>
            <a:ext cx="1430956" cy="711152"/>
          </a:xfrm>
          <a:prstGeom prst="round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rgbClr val="00B050"/>
                </a:solidFill>
                <a:cs typeface="Bai Jamjuree"/>
              </a:rPr>
              <a:t>Out of the box solution (Ragas)</a:t>
            </a:r>
            <a:endParaRPr lang="en-US"/>
          </a:p>
        </p:txBody>
      </p:sp>
      <p:cxnSp>
        <p:nvCxnSpPr>
          <p:cNvPr id="32" name="Přímá spojovací šipka 10">
            <a:extLst>
              <a:ext uri="{FF2B5EF4-FFF2-40B4-BE49-F238E27FC236}">
                <a16:creationId xmlns:a16="http://schemas.microsoft.com/office/drawing/2014/main" id="{80B4AA8D-120B-84B1-1EFD-3E1B219C017C}"/>
              </a:ext>
            </a:extLst>
          </p:cNvPr>
          <p:cNvCxnSpPr>
            <a:cxnSpLocks/>
          </p:cNvCxnSpPr>
          <p:nvPr/>
        </p:nvCxnSpPr>
        <p:spPr>
          <a:xfrm>
            <a:off x="5353689" y="3668331"/>
            <a:ext cx="746069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Zaoblený obdélník 47">
            <a:extLst>
              <a:ext uri="{FF2B5EF4-FFF2-40B4-BE49-F238E27FC236}">
                <a16:creationId xmlns:a16="http://schemas.microsoft.com/office/drawing/2014/main" id="{2A706EEA-8CFD-4B26-14C6-1DA6A5F0FF17}"/>
              </a:ext>
            </a:extLst>
          </p:cNvPr>
          <p:cNvSpPr/>
          <p:nvPr/>
        </p:nvSpPr>
        <p:spPr>
          <a:xfrm>
            <a:off x="6344214" y="3323390"/>
            <a:ext cx="936071" cy="711150"/>
          </a:xfrm>
          <a:prstGeom prst="roundRect">
            <a:avLst/>
          </a:prstGeom>
          <a:noFill/>
          <a:ln w="15875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>
                <a:solidFill>
                  <a:srgbClr val="0070C0"/>
                </a:solidFill>
              </a:rPr>
              <a:t>Classes</a:t>
            </a:r>
            <a:endParaRPr lang="en-US"/>
          </a:p>
        </p:txBody>
      </p:sp>
      <p:cxnSp>
        <p:nvCxnSpPr>
          <p:cNvPr id="15" name="Přímá spojovací šipka 10">
            <a:extLst>
              <a:ext uri="{FF2B5EF4-FFF2-40B4-BE49-F238E27FC236}">
                <a16:creationId xmlns:a16="http://schemas.microsoft.com/office/drawing/2014/main" id="{2AD10A14-70CD-1489-FDF9-C5704B0BA48D}"/>
              </a:ext>
            </a:extLst>
          </p:cNvPr>
          <p:cNvCxnSpPr>
            <a:cxnSpLocks/>
          </p:cNvCxnSpPr>
          <p:nvPr/>
        </p:nvCxnSpPr>
        <p:spPr>
          <a:xfrm>
            <a:off x="2559690" y="4195870"/>
            <a:ext cx="970761" cy="63500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Zaoblený obdélník 47">
            <a:extLst>
              <a:ext uri="{FF2B5EF4-FFF2-40B4-BE49-F238E27FC236}">
                <a16:creationId xmlns:a16="http://schemas.microsoft.com/office/drawing/2014/main" id="{2921A32E-7008-F25C-774D-CBDF36C9E058}"/>
              </a:ext>
            </a:extLst>
          </p:cNvPr>
          <p:cNvSpPr/>
          <p:nvPr/>
        </p:nvSpPr>
        <p:spPr>
          <a:xfrm>
            <a:off x="6344214" y="4388236"/>
            <a:ext cx="936071" cy="711150"/>
          </a:xfrm>
          <a:prstGeom prst="roundRect">
            <a:avLst/>
          </a:prstGeom>
          <a:noFill/>
          <a:ln w="15875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>
                <a:solidFill>
                  <a:srgbClr val="0070C0"/>
                </a:solidFill>
              </a:rPr>
              <a:t>Various metrics</a:t>
            </a:r>
            <a:endParaRPr lang="en-US"/>
          </a:p>
        </p:txBody>
      </p:sp>
      <p:cxnSp>
        <p:nvCxnSpPr>
          <p:cNvPr id="22" name="Přímá spojovací šipka 10">
            <a:extLst>
              <a:ext uri="{FF2B5EF4-FFF2-40B4-BE49-F238E27FC236}">
                <a16:creationId xmlns:a16="http://schemas.microsoft.com/office/drawing/2014/main" id="{0F05FD90-27FC-2AFB-5CDE-12646AF99775}"/>
              </a:ext>
            </a:extLst>
          </p:cNvPr>
          <p:cNvCxnSpPr>
            <a:cxnSpLocks/>
          </p:cNvCxnSpPr>
          <p:nvPr/>
        </p:nvCxnSpPr>
        <p:spPr>
          <a:xfrm>
            <a:off x="5353689" y="4742946"/>
            <a:ext cx="746069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Zaoblený obdélník 11">
            <a:extLst>
              <a:ext uri="{FF2B5EF4-FFF2-40B4-BE49-F238E27FC236}">
                <a16:creationId xmlns:a16="http://schemas.microsoft.com/office/drawing/2014/main" id="{502C88D1-D7D2-F14E-E4A0-F72A46DACE89}"/>
              </a:ext>
            </a:extLst>
          </p:cNvPr>
          <p:cNvSpPr/>
          <p:nvPr/>
        </p:nvSpPr>
        <p:spPr>
          <a:xfrm>
            <a:off x="8607916" y="1967835"/>
            <a:ext cx="1430956" cy="711152"/>
          </a:xfrm>
          <a:prstGeom prst="round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rgbClr val="00B050"/>
                </a:solidFill>
                <a:cs typeface="Bai Jamjuree"/>
              </a:rPr>
              <a:t>Other custom metrics (citations, etc.)</a:t>
            </a:r>
            <a:endParaRPr lang="en-US"/>
          </a:p>
        </p:txBody>
      </p:sp>
      <p:cxnSp>
        <p:nvCxnSpPr>
          <p:cNvPr id="33" name="Přímá spojovací šipka 10">
            <a:extLst>
              <a:ext uri="{FF2B5EF4-FFF2-40B4-BE49-F238E27FC236}">
                <a16:creationId xmlns:a16="http://schemas.microsoft.com/office/drawing/2014/main" id="{0BF3F81C-F358-F469-4C7B-3A48E6A3D7A3}"/>
              </a:ext>
            </a:extLst>
          </p:cNvPr>
          <p:cNvCxnSpPr>
            <a:cxnSpLocks/>
          </p:cNvCxnSpPr>
          <p:nvPr/>
        </p:nvCxnSpPr>
        <p:spPr>
          <a:xfrm>
            <a:off x="9329766" y="2877023"/>
            <a:ext cx="3608" cy="74246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Přímá spojovací šipka 10">
            <a:extLst>
              <a:ext uri="{FF2B5EF4-FFF2-40B4-BE49-F238E27FC236}">
                <a16:creationId xmlns:a16="http://schemas.microsoft.com/office/drawing/2014/main" id="{D1EDA194-24F7-528B-5988-8EC7AF4B9634}"/>
              </a:ext>
            </a:extLst>
          </p:cNvPr>
          <p:cNvCxnSpPr>
            <a:cxnSpLocks/>
          </p:cNvCxnSpPr>
          <p:nvPr/>
        </p:nvCxnSpPr>
        <p:spPr>
          <a:xfrm>
            <a:off x="7480844" y="3656859"/>
            <a:ext cx="970761" cy="556848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Přímá spojovací šipka 10">
            <a:extLst>
              <a:ext uri="{FF2B5EF4-FFF2-40B4-BE49-F238E27FC236}">
                <a16:creationId xmlns:a16="http://schemas.microsoft.com/office/drawing/2014/main" id="{5F11AB17-4292-8861-EBED-009826C4641B}"/>
              </a:ext>
            </a:extLst>
          </p:cNvPr>
          <p:cNvCxnSpPr>
            <a:cxnSpLocks/>
          </p:cNvCxnSpPr>
          <p:nvPr/>
        </p:nvCxnSpPr>
        <p:spPr>
          <a:xfrm flipV="1">
            <a:off x="7482268" y="4230776"/>
            <a:ext cx="970761" cy="615458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Zaoblený obdélník 25">
            <a:extLst>
              <a:ext uri="{FF2B5EF4-FFF2-40B4-BE49-F238E27FC236}">
                <a16:creationId xmlns:a16="http://schemas.microsoft.com/office/drawing/2014/main" id="{8966F09D-AE92-A258-5A7F-7DAD65D8772E}"/>
              </a:ext>
            </a:extLst>
          </p:cNvPr>
          <p:cNvSpPr/>
          <p:nvPr/>
        </p:nvSpPr>
        <p:spPr>
          <a:xfrm>
            <a:off x="8603765" y="3813415"/>
            <a:ext cx="1440000" cy="720000"/>
          </a:xfrm>
          <a:prstGeom prst="roundRect">
            <a:avLst/>
          </a:prstGeom>
          <a:solidFill>
            <a:schemeClr val="tx1"/>
          </a:solidFill>
          <a:ln w="158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  <a:cs typeface="Bai Jamjuree"/>
              </a:rPr>
              <a:t>Evaluated test set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8358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When to trigger 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21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40777559-EE93-B90A-2C1D-9737A8C3BCA5}"/>
              </a:ext>
            </a:extLst>
          </p:cNvPr>
          <p:cNvSpPr txBox="1"/>
          <p:nvPr/>
        </p:nvSpPr>
        <p:spPr>
          <a:xfrm>
            <a:off x="965200" y="1577825"/>
            <a:ext cx="8354646" cy="355251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9070" lvl="1">
              <a:lnSpc>
                <a:spcPct val="150000"/>
              </a:lnSpc>
            </a:pPr>
            <a:r>
              <a:rPr lang="en-US" sz="2000" b="1" i="1">
                <a:solidFill>
                  <a:schemeClr val="bg1"/>
                </a:solidFill>
                <a:cs typeface="Bai Jamjuree"/>
              </a:rPr>
              <a:t>Evaluation pipeline</a:t>
            </a:r>
            <a:r>
              <a:rPr lang="en-US" sz="2000" i="1">
                <a:solidFill>
                  <a:schemeClr val="bg1"/>
                </a:solidFill>
                <a:cs typeface="Bai Jamjuree"/>
              </a:rPr>
              <a:t> is useful not only for RAG optimization, but also for monitoring</a:t>
            </a:r>
          </a:p>
          <a:p>
            <a:pPr marL="179070" lvl="1">
              <a:lnSpc>
                <a:spcPct val="150000"/>
              </a:lnSpc>
            </a:pPr>
            <a:endParaRPr lang="en-US" sz="2000">
              <a:solidFill>
                <a:schemeClr val="bg1"/>
              </a:solidFill>
              <a:cs typeface="Bai Jamjuree"/>
            </a:endParaRPr>
          </a:p>
          <a:p>
            <a:pPr marL="179070" lvl="1">
              <a:lnSpc>
                <a:spcPct val="150000"/>
              </a:lnSpc>
            </a:pPr>
            <a:r>
              <a:rPr lang="en-US" sz="2000">
                <a:solidFill>
                  <a:schemeClr val="accent1"/>
                </a:solidFill>
                <a:cs typeface="Bai Jamjuree"/>
              </a:rPr>
              <a:t>When to evaluate the model:</a:t>
            </a:r>
            <a:endParaRPr lang="en-US">
              <a:solidFill>
                <a:schemeClr val="accent1"/>
              </a:solidFill>
              <a:ea typeface="+mn-lt"/>
              <a:cs typeface="+mn-lt"/>
            </a:endParaRPr>
          </a:p>
          <a:p>
            <a:pPr marL="92202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During development</a:t>
            </a:r>
          </a:p>
          <a:p>
            <a:pPr marL="92202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Creating</a:t>
            </a:r>
            <a:r>
              <a:rPr lang="en-US">
                <a:solidFill>
                  <a:schemeClr val="bg1"/>
                </a:solidFill>
                <a:cs typeface="Bai Jamjuree"/>
              </a:rPr>
              <a:t> new version of knowledgebase</a:t>
            </a:r>
          </a:p>
          <a:p>
            <a:pPr marL="92202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cs typeface="Bai Jamjuree"/>
              </a:rPr>
              <a:t>Merging</a:t>
            </a: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 new changes to production</a:t>
            </a:r>
          </a:p>
          <a:p>
            <a:pPr marL="92202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cs typeface="Bai Jamjuree"/>
              </a:rPr>
              <a:t>Regularly for reporting purposes</a:t>
            </a:r>
          </a:p>
        </p:txBody>
      </p:sp>
    </p:spTree>
    <p:extLst>
      <p:ext uri="{BB962C8B-B14F-4D97-AF65-F5344CB8AC3E}">
        <p14:creationId xmlns:p14="http://schemas.microsoft.com/office/powerpoint/2010/main" val="16302454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D1A47-0863-4AB4-91ED-899A161CD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D1A47-0863-4AB4-91ED-899A161CD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81F898C-A8D6-4F3F-9BC0-2A9891FE6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9267" y="2015007"/>
            <a:ext cx="5308803" cy="1329595"/>
          </a:xfrm>
          <a:noFill/>
        </p:spPr>
        <p:txBody>
          <a:bodyPr vert="horz"/>
          <a:lstStyle/>
          <a:p>
            <a: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  <a:t>Practical session: </a:t>
            </a:r>
            <a:b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</a:br>
            <a:b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</a:br>
            <a: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  <a:t>Automating evalu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BD1EED-ADD7-4F2D-999A-6FEEF32804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37C99E-FD15-4DCC-8D86-578F5468FE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747106E-8B7B-1198-CC14-41B29DF14D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9" name="Graphic 17" descr="Monitor outline">
            <a:extLst>
              <a:ext uri="{FF2B5EF4-FFF2-40B4-BE49-F238E27FC236}">
                <a16:creationId xmlns:a16="http://schemas.microsoft.com/office/drawing/2014/main" id="{9A84CBE7-F30F-2F6A-973D-6C6489CC10AE}"/>
              </a:ext>
            </a:extLst>
          </p:cNvPr>
          <p:cNvGrpSpPr/>
          <p:nvPr/>
        </p:nvGrpSpPr>
        <p:grpSpPr>
          <a:xfrm>
            <a:off x="2578973" y="438872"/>
            <a:ext cx="7034055" cy="5980257"/>
            <a:chOff x="9970576" y="3188005"/>
            <a:chExt cx="762000" cy="647842"/>
          </a:xfrm>
          <a:gradFill>
            <a:gsLst>
              <a:gs pos="37000">
                <a:schemeClr val="accent1"/>
              </a:gs>
              <a:gs pos="81000">
                <a:schemeClr val="accent1">
                  <a:lumMod val="60000"/>
                  <a:lumOff val="40000"/>
                </a:schemeClr>
              </a:gs>
            </a:gsLst>
            <a:lin ang="21594000" scaled="0"/>
          </a:gra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B429F90-0A60-5E1A-9F2B-36A1387D8A90}"/>
                </a:ext>
              </a:extLst>
            </p:cNvPr>
            <p:cNvSpPr/>
            <p:nvPr/>
          </p:nvSpPr>
          <p:spPr>
            <a:xfrm>
              <a:off x="9970576" y="3188005"/>
              <a:ext cx="762000" cy="647842"/>
            </a:xfrm>
            <a:custGeom>
              <a:avLst/>
              <a:gdLst>
                <a:gd name="connsiteX0" fmla="*/ 723900 w 762000"/>
                <a:gd name="connsiteY0" fmla="*/ 0 h 647842"/>
                <a:gd name="connsiteX1" fmla="*/ 38100 w 762000"/>
                <a:gd name="connsiteY1" fmla="*/ 0 h 647842"/>
                <a:gd name="connsiteX2" fmla="*/ 0 w 762000"/>
                <a:gd name="connsiteY2" fmla="*/ 38100 h 647842"/>
                <a:gd name="connsiteX3" fmla="*/ 0 w 762000"/>
                <a:gd name="connsiteY3" fmla="*/ 495443 h 647842"/>
                <a:gd name="connsiteX4" fmla="*/ 38100 w 762000"/>
                <a:gd name="connsiteY4" fmla="*/ 533543 h 647842"/>
                <a:gd name="connsiteX5" fmla="*/ 314325 w 762000"/>
                <a:gd name="connsiteY5" fmla="*/ 533543 h 647842"/>
                <a:gd name="connsiteX6" fmla="*/ 314325 w 762000"/>
                <a:gd name="connsiteY6" fmla="*/ 628793 h 647842"/>
                <a:gd name="connsiteX7" fmla="*/ 209550 w 762000"/>
                <a:gd name="connsiteY7" fmla="*/ 628793 h 647842"/>
                <a:gd name="connsiteX8" fmla="*/ 209550 w 762000"/>
                <a:gd name="connsiteY8" fmla="*/ 647843 h 647842"/>
                <a:gd name="connsiteX9" fmla="*/ 552450 w 762000"/>
                <a:gd name="connsiteY9" fmla="*/ 647843 h 647842"/>
                <a:gd name="connsiteX10" fmla="*/ 552450 w 762000"/>
                <a:gd name="connsiteY10" fmla="*/ 628793 h 647842"/>
                <a:gd name="connsiteX11" fmla="*/ 447675 w 762000"/>
                <a:gd name="connsiteY11" fmla="*/ 628793 h 647842"/>
                <a:gd name="connsiteX12" fmla="*/ 447675 w 762000"/>
                <a:gd name="connsiteY12" fmla="*/ 533543 h 647842"/>
                <a:gd name="connsiteX13" fmla="*/ 723900 w 762000"/>
                <a:gd name="connsiteY13" fmla="*/ 533543 h 647842"/>
                <a:gd name="connsiteX14" fmla="*/ 762000 w 762000"/>
                <a:gd name="connsiteY14" fmla="*/ 495443 h 647842"/>
                <a:gd name="connsiteX15" fmla="*/ 762000 w 762000"/>
                <a:gd name="connsiteY15" fmla="*/ 38100 h 647842"/>
                <a:gd name="connsiteX16" fmla="*/ 723900 w 762000"/>
                <a:gd name="connsiteY16" fmla="*/ 0 h 647842"/>
                <a:gd name="connsiteX17" fmla="*/ 428625 w 762000"/>
                <a:gd name="connsiteY17" fmla="*/ 628831 h 647842"/>
                <a:gd name="connsiteX18" fmla="*/ 333375 w 762000"/>
                <a:gd name="connsiteY18" fmla="*/ 628831 h 647842"/>
                <a:gd name="connsiteX19" fmla="*/ 333375 w 762000"/>
                <a:gd name="connsiteY19" fmla="*/ 533581 h 647842"/>
                <a:gd name="connsiteX20" fmla="*/ 428625 w 762000"/>
                <a:gd name="connsiteY20" fmla="*/ 533581 h 647842"/>
                <a:gd name="connsiteX21" fmla="*/ 742950 w 762000"/>
                <a:gd name="connsiteY21" fmla="*/ 495481 h 647842"/>
                <a:gd name="connsiteX22" fmla="*/ 723900 w 762000"/>
                <a:gd name="connsiteY22" fmla="*/ 514531 h 647842"/>
                <a:gd name="connsiteX23" fmla="*/ 38100 w 762000"/>
                <a:gd name="connsiteY23" fmla="*/ 514531 h 647842"/>
                <a:gd name="connsiteX24" fmla="*/ 19050 w 762000"/>
                <a:gd name="connsiteY24" fmla="*/ 495481 h 647842"/>
                <a:gd name="connsiteX25" fmla="*/ 19050 w 762000"/>
                <a:gd name="connsiteY25" fmla="*/ 38100 h 647842"/>
                <a:gd name="connsiteX26" fmla="*/ 38100 w 762000"/>
                <a:gd name="connsiteY26" fmla="*/ 19050 h 647842"/>
                <a:gd name="connsiteX27" fmla="*/ 723900 w 762000"/>
                <a:gd name="connsiteY27" fmla="*/ 19050 h 647842"/>
                <a:gd name="connsiteX28" fmla="*/ 742950 w 762000"/>
                <a:gd name="connsiteY28" fmla="*/ 38100 h 64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62000" h="647842">
                  <a:moveTo>
                    <a:pt x="723900" y="0"/>
                  </a:moveTo>
                  <a:lnTo>
                    <a:pt x="38100" y="0"/>
                  </a:lnTo>
                  <a:cubicBezTo>
                    <a:pt x="17084" y="63"/>
                    <a:pt x="63" y="17084"/>
                    <a:pt x="0" y="38100"/>
                  </a:cubicBezTo>
                  <a:lnTo>
                    <a:pt x="0" y="495443"/>
                  </a:lnTo>
                  <a:cubicBezTo>
                    <a:pt x="68" y="516457"/>
                    <a:pt x="17086" y="533475"/>
                    <a:pt x="38100" y="533543"/>
                  </a:cubicBezTo>
                  <a:lnTo>
                    <a:pt x="314325" y="533543"/>
                  </a:lnTo>
                  <a:lnTo>
                    <a:pt x="314325" y="628793"/>
                  </a:lnTo>
                  <a:lnTo>
                    <a:pt x="209550" y="628793"/>
                  </a:lnTo>
                  <a:lnTo>
                    <a:pt x="209550" y="647843"/>
                  </a:lnTo>
                  <a:lnTo>
                    <a:pt x="552450" y="647843"/>
                  </a:lnTo>
                  <a:lnTo>
                    <a:pt x="552450" y="628793"/>
                  </a:lnTo>
                  <a:lnTo>
                    <a:pt x="447675" y="628793"/>
                  </a:lnTo>
                  <a:lnTo>
                    <a:pt x="447675" y="533543"/>
                  </a:lnTo>
                  <a:lnTo>
                    <a:pt x="723900" y="533543"/>
                  </a:lnTo>
                  <a:cubicBezTo>
                    <a:pt x="744914" y="533475"/>
                    <a:pt x="761932" y="516457"/>
                    <a:pt x="762000" y="495443"/>
                  </a:cubicBezTo>
                  <a:lnTo>
                    <a:pt x="762000" y="38100"/>
                  </a:lnTo>
                  <a:cubicBezTo>
                    <a:pt x="761937" y="17084"/>
                    <a:pt x="744916" y="63"/>
                    <a:pt x="723900" y="0"/>
                  </a:cubicBezTo>
                  <a:close/>
                  <a:moveTo>
                    <a:pt x="428625" y="628831"/>
                  </a:moveTo>
                  <a:lnTo>
                    <a:pt x="333375" y="628831"/>
                  </a:lnTo>
                  <a:lnTo>
                    <a:pt x="333375" y="533581"/>
                  </a:lnTo>
                  <a:lnTo>
                    <a:pt x="428625" y="533581"/>
                  </a:lnTo>
                  <a:close/>
                  <a:moveTo>
                    <a:pt x="742950" y="495481"/>
                  </a:moveTo>
                  <a:cubicBezTo>
                    <a:pt x="742950" y="506002"/>
                    <a:pt x="734421" y="514531"/>
                    <a:pt x="723900" y="514531"/>
                  </a:cubicBezTo>
                  <a:lnTo>
                    <a:pt x="38100" y="514531"/>
                  </a:lnTo>
                  <a:cubicBezTo>
                    <a:pt x="27579" y="514531"/>
                    <a:pt x="19050" y="506002"/>
                    <a:pt x="19050" y="495481"/>
                  </a:cubicBezTo>
                  <a:lnTo>
                    <a:pt x="19050" y="38100"/>
                  </a:lnTo>
                  <a:cubicBezTo>
                    <a:pt x="19050" y="27579"/>
                    <a:pt x="27579" y="19050"/>
                    <a:pt x="38100" y="19050"/>
                  </a:cubicBezTo>
                  <a:lnTo>
                    <a:pt x="723900" y="19050"/>
                  </a:lnTo>
                  <a:cubicBezTo>
                    <a:pt x="734421" y="19050"/>
                    <a:pt x="742950" y="27579"/>
                    <a:pt x="742950" y="381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C357788-3425-4D3A-D26F-16AB4A465C0D}"/>
                </a:ext>
              </a:extLst>
            </p:cNvPr>
            <p:cNvSpPr/>
            <p:nvPr/>
          </p:nvSpPr>
          <p:spPr>
            <a:xfrm>
              <a:off x="10018201" y="3235630"/>
              <a:ext cx="666750" cy="438283"/>
            </a:xfrm>
            <a:custGeom>
              <a:avLst/>
              <a:gdLst>
                <a:gd name="connsiteX0" fmla="*/ 19050 w 666750"/>
                <a:gd name="connsiteY0" fmla="*/ 0 h 438283"/>
                <a:gd name="connsiteX1" fmla="*/ 0 w 666750"/>
                <a:gd name="connsiteY1" fmla="*/ 0 h 438283"/>
                <a:gd name="connsiteX2" fmla="*/ 0 w 666750"/>
                <a:gd name="connsiteY2" fmla="*/ 438283 h 438283"/>
                <a:gd name="connsiteX3" fmla="*/ 666750 w 666750"/>
                <a:gd name="connsiteY3" fmla="*/ 438283 h 438283"/>
                <a:gd name="connsiteX4" fmla="*/ 666750 w 666750"/>
                <a:gd name="connsiteY4" fmla="*/ 0 h 438283"/>
                <a:gd name="connsiteX5" fmla="*/ 19050 w 666750"/>
                <a:gd name="connsiteY5" fmla="*/ 0 h 438283"/>
                <a:gd name="connsiteX6" fmla="*/ 647700 w 666750"/>
                <a:gd name="connsiteY6" fmla="*/ 419233 h 438283"/>
                <a:gd name="connsiteX7" fmla="*/ 19050 w 666750"/>
                <a:gd name="connsiteY7" fmla="*/ 419233 h 438283"/>
                <a:gd name="connsiteX8" fmla="*/ 19050 w 666750"/>
                <a:gd name="connsiteY8" fmla="*/ 19050 h 438283"/>
                <a:gd name="connsiteX9" fmla="*/ 647700 w 666750"/>
                <a:gd name="connsiteY9" fmla="*/ 19050 h 438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0" h="438283">
                  <a:moveTo>
                    <a:pt x="19050" y="0"/>
                  </a:moveTo>
                  <a:lnTo>
                    <a:pt x="0" y="0"/>
                  </a:lnTo>
                  <a:lnTo>
                    <a:pt x="0" y="438283"/>
                  </a:lnTo>
                  <a:lnTo>
                    <a:pt x="666750" y="438283"/>
                  </a:lnTo>
                  <a:lnTo>
                    <a:pt x="666750" y="0"/>
                  </a:lnTo>
                  <a:lnTo>
                    <a:pt x="19050" y="0"/>
                  </a:lnTo>
                  <a:close/>
                  <a:moveTo>
                    <a:pt x="647700" y="419233"/>
                  </a:moveTo>
                  <a:lnTo>
                    <a:pt x="19050" y="419233"/>
                  </a:lnTo>
                  <a:lnTo>
                    <a:pt x="19050" y="19050"/>
                  </a:lnTo>
                  <a:lnTo>
                    <a:pt x="64770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6273063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: Pentagon 1">
            <a:extLst>
              <a:ext uri="{FF2B5EF4-FFF2-40B4-BE49-F238E27FC236}">
                <a16:creationId xmlns:a16="http://schemas.microsoft.com/office/drawing/2014/main" id="{51A1FC03-BAAA-DAD2-2EC7-79D363C3D876}"/>
              </a:ext>
            </a:extLst>
          </p:cNvPr>
          <p:cNvSpPr/>
          <p:nvPr/>
        </p:nvSpPr>
        <p:spPr>
          <a:xfrm>
            <a:off x="-6981" y="-3176"/>
            <a:ext cx="5029200" cy="6858000"/>
          </a:xfrm>
          <a:prstGeom prst="homePlate">
            <a:avLst/>
          </a:prstGeom>
          <a:gradFill>
            <a:gsLst>
              <a:gs pos="5000">
                <a:schemeClr val="tx1"/>
              </a:gs>
              <a:gs pos="6600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E4E12A74-D6DB-0CBC-566A-F27FD2897717}"/>
              </a:ext>
            </a:extLst>
          </p:cNvPr>
          <p:cNvSpPr/>
          <p:nvPr/>
        </p:nvSpPr>
        <p:spPr>
          <a:xfrm>
            <a:off x="2496326" y="-3301"/>
            <a:ext cx="5029200" cy="6858000"/>
          </a:xfrm>
          <a:prstGeom prst="chevron">
            <a:avLst/>
          </a:prstGeom>
          <a:gradFill>
            <a:gsLst>
              <a:gs pos="60000">
                <a:schemeClr val="accent1"/>
              </a:gs>
              <a:gs pos="81000">
                <a:schemeClr val="accent1">
                  <a:lumMod val="60000"/>
                  <a:lumOff val="4000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ABA45C64-9639-6798-8F8E-B3291327CB69}"/>
              </a:ext>
            </a:extLst>
          </p:cNvPr>
          <p:cNvSpPr/>
          <p:nvPr/>
        </p:nvSpPr>
        <p:spPr>
          <a:xfrm>
            <a:off x="4998276" y="-3301"/>
            <a:ext cx="5029200" cy="685800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D1A47-0863-4AB4-91ED-899A161CD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D1A47-0863-4AB4-91ED-899A161CD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81F898C-A8D6-4F3F-9BC0-2A9891FE6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326" y="3204100"/>
            <a:ext cx="9533298" cy="443198"/>
          </a:xfrm>
        </p:spPr>
        <p:txBody>
          <a:bodyPr vert="horz"/>
          <a:lstStyle/>
          <a:p>
            <a:r>
              <a:rPr lang="en-US" sz="3200" b="1">
                <a:solidFill>
                  <a:schemeClr val="tx1"/>
                </a:solidFill>
                <a:ea typeface="+mn-ea"/>
                <a:cs typeface="Bai Jamjuree bold"/>
              </a:rPr>
              <a:t>3. Automating RAG evalu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BD1EED-ADD7-4F2D-999A-6FEEF32804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37C99E-FD15-4DCC-8D86-578F5468FE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747106E-8B7B-1198-CC14-41B29DF14D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8295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Possible optimization of RAG system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24</a:t>
            </a:fld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0FC1C42-9FA1-5169-7B7B-F5EEC6D0021D}"/>
              </a:ext>
            </a:extLst>
          </p:cNvPr>
          <p:cNvGrpSpPr/>
          <p:nvPr/>
        </p:nvGrpSpPr>
        <p:grpSpPr>
          <a:xfrm>
            <a:off x="502273" y="1887121"/>
            <a:ext cx="11182981" cy="3820320"/>
            <a:chOff x="556313" y="1887121"/>
            <a:chExt cx="11182981" cy="3820320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512A033-EADA-85E2-E072-9A8921ECA01F}"/>
                </a:ext>
              </a:extLst>
            </p:cNvPr>
            <p:cNvGrpSpPr/>
            <p:nvPr/>
          </p:nvGrpSpPr>
          <p:grpSpPr>
            <a:xfrm>
              <a:off x="556313" y="1887121"/>
              <a:ext cx="11182981" cy="3820320"/>
              <a:chOff x="1315926" y="3305908"/>
              <a:chExt cx="9488962" cy="3397655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32AAFE5B-901B-FEC8-A0A0-FF1F658649C0}"/>
                  </a:ext>
                </a:extLst>
              </p:cNvPr>
              <p:cNvGrpSpPr/>
              <p:nvPr/>
            </p:nvGrpSpPr>
            <p:grpSpPr>
              <a:xfrm>
                <a:off x="1315926" y="3305908"/>
                <a:ext cx="9488962" cy="3397655"/>
                <a:chOff x="1315926" y="3305908"/>
                <a:chExt cx="9488962" cy="3397655"/>
              </a:xfrm>
            </p:grpSpPr>
            <p:sp>
              <p:nvSpPr>
                <p:cNvPr id="39" name="Freeform: Shape 38">
                  <a:extLst>
                    <a:ext uri="{FF2B5EF4-FFF2-40B4-BE49-F238E27FC236}">
                      <a16:creationId xmlns:a16="http://schemas.microsoft.com/office/drawing/2014/main" id="{8CD971D7-1693-B048-7CB4-22102F08CA2F}"/>
                    </a:ext>
                  </a:extLst>
                </p:cNvPr>
                <p:cNvSpPr/>
                <p:nvPr/>
              </p:nvSpPr>
              <p:spPr>
                <a:xfrm>
                  <a:off x="1315926" y="3305908"/>
                  <a:ext cx="1321593" cy="3388738"/>
                </a:xfrm>
                <a:custGeom>
                  <a:avLst/>
                  <a:gdLst>
                    <a:gd name="connsiteX0" fmla="*/ 0 w 1321593"/>
                    <a:gd name="connsiteY0" fmla="*/ 132159 h 3388738"/>
                    <a:gd name="connsiteX1" fmla="*/ 132159 w 1321593"/>
                    <a:gd name="connsiteY1" fmla="*/ 0 h 3388738"/>
                    <a:gd name="connsiteX2" fmla="*/ 1189434 w 1321593"/>
                    <a:gd name="connsiteY2" fmla="*/ 0 h 3388738"/>
                    <a:gd name="connsiteX3" fmla="*/ 1321593 w 1321593"/>
                    <a:gd name="connsiteY3" fmla="*/ 132159 h 3388738"/>
                    <a:gd name="connsiteX4" fmla="*/ 1321593 w 1321593"/>
                    <a:gd name="connsiteY4" fmla="*/ 3256579 h 3388738"/>
                    <a:gd name="connsiteX5" fmla="*/ 1189434 w 1321593"/>
                    <a:gd name="connsiteY5" fmla="*/ 3388738 h 3388738"/>
                    <a:gd name="connsiteX6" fmla="*/ 132159 w 1321593"/>
                    <a:gd name="connsiteY6" fmla="*/ 3388738 h 3388738"/>
                    <a:gd name="connsiteX7" fmla="*/ 0 w 1321593"/>
                    <a:gd name="connsiteY7" fmla="*/ 3256579 h 3388738"/>
                    <a:gd name="connsiteX8" fmla="*/ 0 w 1321593"/>
                    <a:gd name="connsiteY8" fmla="*/ 132159 h 3388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21593" h="3388738">
                      <a:moveTo>
                        <a:pt x="0" y="132159"/>
                      </a:moveTo>
                      <a:cubicBezTo>
                        <a:pt x="0" y="59170"/>
                        <a:pt x="59170" y="0"/>
                        <a:pt x="132159" y="0"/>
                      </a:cubicBezTo>
                      <a:lnTo>
                        <a:pt x="1189434" y="0"/>
                      </a:lnTo>
                      <a:cubicBezTo>
                        <a:pt x="1262423" y="0"/>
                        <a:pt x="1321593" y="59170"/>
                        <a:pt x="1321593" y="132159"/>
                      </a:cubicBezTo>
                      <a:lnTo>
                        <a:pt x="1321593" y="3256579"/>
                      </a:lnTo>
                      <a:cubicBezTo>
                        <a:pt x="1321593" y="3329568"/>
                        <a:pt x="1262423" y="3388738"/>
                        <a:pt x="1189434" y="3388738"/>
                      </a:cubicBezTo>
                      <a:lnTo>
                        <a:pt x="132159" y="3388738"/>
                      </a:lnTo>
                      <a:cubicBezTo>
                        <a:pt x="59170" y="3388738"/>
                        <a:pt x="0" y="3329568"/>
                        <a:pt x="0" y="3256579"/>
                      </a:cubicBezTo>
                      <a:lnTo>
                        <a:pt x="0" y="132159"/>
                      </a:lnTo>
                      <a:close/>
                    </a:path>
                  </a:pathLst>
                </a:custGeom>
                <a:noFill/>
                <a:ln w="3175">
                  <a:solidFill>
                    <a:schemeClr val="bg2"/>
                  </a:solidFill>
                </a:ln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9568" tIns="1455063" rIns="99568" bIns="777316" numCol="1" spcCol="1270" anchor="t" anchorCtr="1">
                  <a:noAutofit/>
                </a:bodyPr>
                <a:lstStyle/>
                <a:p>
                  <a:pPr marL="0" lvl="0" indent="0" algn="l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Arial" panose="020B0604020202020204" pitchFamily="34" charset="0"/>
                    <a:buNone/>
                  </a:pPr>
                  <a:endParaRPr lang="en-US" b="1" kern="1200">
                    <a:solidFill>
                      <a:schemeClr val="bg1"/>
                    </a:solidFill>
                  </a:endParaRPr>
                </a:p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Font typeface="Arial" panose="020B0604020202020204" pitchFamily="34" charset="0"/>
                    <a:buNone/>
                  </a:pPr>
                  <a:r>
                    <a:rPr lang="en-US" kern="1200">
                      <a:solidFill>
                        <a:schemeClr val="bg1"/>
                      </a:solidFill>
                    </a:rPr>
                    <a:t>Document processing</a:t>
                  </a:r>
                  <a:endParaRPr lang="cs-CZ" kern="1200">
                    <a:solidFill>
                      <a:schemeClr val="bg1"/>
                    </a:solidFill>
                  </a:endParaRPr>
                </a:p>
                <a:p>
                  <a:pPr marL="0" lvl="1" algn="l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15000"/>
                    </a:spcAft>
                  </a:pPr>
                  <a:r>
                    <a:rPr lang="en-US" sz="1600" kern="1200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</a:rPr>
                    <a:t>not part of today's workshop</a:t>
                  </a:r>
                  <a:endParaRPr lang="cs-CZ" sz="1600" kern="1200">
                    <a:solidFill>
                      <a:schemeClr val="tx1">
                        <a:lumMod val="25000"/>
                        <a:lumOff val="75000"/>
                      </a:schemeClr>
                    </a:solidFill>
                  </a:endParaRPr>
                </a:p>
              </p:txBody>
            </p: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506C5F86-2916-43B6-C191-FBD12F3CA898}"/>
                    </a:ext>
                  </a:extLst>
                </p:cNvPr>
                <p:cNvSpPr/>
                <p:nvPr/>
              </p:nvSpPr>
              <p:spPr>
                <a:xfrm>
                  <a:off x="1412498" y="3509232"/>
                  <a:ext cx="1128449" cy="1128449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dk1"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id="{0F84324D-B12B-C53F-2E24-C8F6326CAE32}"/>
                    </a:ext>
                  </a:extLst>
                </p:cNvPr>
                <p:cNvSpPr/>
                <p:nvPr/>
              </p:nvSpPr>
              <p:spPr>
                <a:xfrm>
                  <a:off x="2677167" y="3305908"/>
                  <a:ext cx="1321593" cy="3388738"/>
                </a:xfrm>
                <a:custGeom>
                  <a:avLst/>
                  <a:gdLst>
                    <a:gd name="connsiteX0" fmla="*/ 0 w 1321593"/>
                    <a:gd name="connsiteY0" fmla="*/ 132159 h 3388738"/>
                    <a:gd name="connsiteX1" fmla="*/ 132159 w 1321593"/>
                    <a:gd name="connsiteY1" fmla="*/ 0 h 3388738"/>
                    <a:gd name="connsiteX2" fmla="*/ 1189434 w 1321593"/>
                    <a:gd name="connsiteY2" fmla="*/ 0 h 3388738"/>
                    <a:gd name="connsiteX3" fmla="*/ 1321593 w 1321593"/>
                    <a:gd name="connsiteY3" fmla="*/ 132159 h 3388738"/>
                    <a:gd name="connsiteX4" fmla="*/ 1321593 w 1321593"/>
                    <a:gd name="connsiteY4" fmla="*/ 3256579 h 3388738"/>
                    <a:gd name="connsiteX5" fmla="*/ 1189434 w 1321593"/>
                    <a:gd name="connsiteY5" fmla="*/ 3388738 h 3388738"/>
                    <a:gd name="connsiteX6" fmla="*/ 132159 w 1321593"/>
                    <a:gd name="connsiteY6" fmla="*/ 3388738 h 3388738"/>
                    <a:gd name="connsiteX7" fmla="*/ 0 w 1321593"/>
                    <a:gd name="connsiteY7" fmla="*/ 3256579 h 3388738"/>
                    <a:gd name="connsiteX8" fmla="*/ 0 w 1321593"/>
                    <a:gd name="connsiteY8" fmla="*/ 132159 h 3388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21593" h="3388738">
                      <a:moveTo>
                        <a:pt x="0" y="132159"/>
                      </a:moveTo>
                      <a:cubicBezTo>
                        <a:pt x="0" y="59170"/>
                        <a:pt x="59170" y="0"/>
                        <a:pt x="132159" y="0"/>
                      </a:cubicBezTo>
                      <a:lnTo>
                        <a:pt x="1189434" y="0"/>
                      </a:lnTo>
                      <a:cubicBezTo>
                        <a:pt x="1262423" y="0"/>
                        <a:pt x="1321593" y="59170"/>
                        <a:pt x="1321593" y="132159"/>
                      </a:cubicBezTo>
                      <a:lnTo>
                        <a:pt x="1321593" y="3256579"/>
                      </a:lnTo>
                      <a:cubicBezTo>
                        <a:pt x="1321593" y="3329568"/>
                        <a:pt x="1262423" y="3388738"/>
                        <a:pt x="1189434" y="3388738"/>
                      </a:cubicBezTo>
                      <a:lnTo>
                        <a:pt x="132159" y="3388738"/>
                      </a:lnTo>
                      <a:cubicBezTo>
                        <a:pt x="59170" y="3388738"/>
                        <a:pt x="0" y="3329568"/>
                        <a:pt x="0" y="3256579"/>
                      </a:cubicBezTo>
                      <a:lnTo>
                        <a:pt x="0" y="132159"/>
                      </a:lnTo>
                      <a:close/>
                    </a:path>
                  </a:pathLst>
                </a:custGeom>
                <a:noFill/>
                <a:ln w="3175">
                  <a:solidFill>
                    <a:schemeClr val="bg2"/>
                  </a:solidFill>
                </a:ln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9568" tIns="1455063" rIns="99568" bIns="777316" numCol="1" spcCol="1270" anchor="ctr" anchorCtr="0">
                  <a:noAutofit/>
                </a:bodyPr>
                <a:lstStyle/>
                <a:p>
                  <a:pPr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kern="1200">
                      <a:solidFill>
                        <a:schemeClr val="bg1"/>
                      </a:solidFill>
                    </a:rPr>
                    <a:t>Retriever</a:t>
                  </a:r>
                  <a:r>
                    <a:rPr lang="en-US">
                      <a:solidFill>
                        <a:schemeClr val="bg1"/>
                      </a:solidFill>
                    </a:rPr>
                    <a:t> method</a:t>
                  </a:r>
                  <a:endParaRPr lang="en-US" kern="12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E46BFE8A-4D8F-6B43-1B94-ABF1D78931C5}"/>
                    </a:ext>
                  </a:extLst>
                </p:cNvPr>
                <p:cNvSpPr/>
                <p:nvPr/>
              </p:nvSpPr>
              <p:spPr>
                <a:xfrm>
                  <a:off x="2773739" y="3509232"/>
                  <a:ext cx="1128449" cy="1128449"/>
                </a:xfrm>
                <a:prstGeom prst="ellipse">
                  <a:avLst/>
                </a:prstGeom>
                <a:solidFill>
                  <a:schemeClr val="accent1"/>
                </a:solidFill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dk1"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689AE713-BAB4-0BDF-A85A-C24234BF6B40}"/>
                    </a:ext>
                  </a:extLst>
                </p:cNvPr>
                <p:cNvSpPr/>
                <p:nvPr/>
              </p:nvSpPr>
              <p:spPr>
                <a:xfrm>
                  <a:off x="6760812" y="3305908"/>
                  <a:ext cx="1321593" cy="3388738"/>
                </a:xfrm>
                <a:custGeom>
                  <a:avLst/>
                  <a:gdLst>
                    <a:gd name="connsiteX0" fmla="*/ 0 w 1321593"/>
                    <a:gd name="connsiteY0" fmla="*/ 132159 h 3388738"/>
                    <a:gd name="connsiteX1" fmla="*/ 132159 w 1321593"/>
                    <a:gd name="connsiteY1" fmla="*/ 0 h 3388738"/>
                    <a:gd name="connsiteX2" fmla="*/ 1189434 w 1321593"/>
                    <a:gd name="connsiteY2" fmla="*/ 0 h 3388738"/>
                    <a:gd name="connsiteX3" fmla="*/ 1321593 w 1321593"/>
                    <a:gd name="connsiteY3" fmla="*/ 132159 h 3388738"/>
                    <a:gd name="connsiteX4" fmla="*/ 1321593 w 1321593"/>
                    <a:gd name="connsiteY4" fmla="*/ 3256579 h 3388738"/>
                    <a:gd name="connsiteX5" fmla="*/ 1189434 w 1321593"/>
                    <a:gd name="connsiteY5" fmla="*/ 3388738 h 3388738"/>
                    <a:gd name="connsiteX6" fmla="*/ 132159 w 1321593"/>
                    <a:gd name="connsiteY6" fmla="*/ 3388738 h 3388738"/>
                    <a:gd name="connsiteX7" fmla="*/ 0 w 1321593"/>
                    <a:gd name="connsiteY7" fmla="*/ 3256579 h 3388738"/>
                    <a:gd name="connsiteX8" fmla="*/ 0 w 1321593"/>
                    <a:gd name="connsiteY8" fmla="*/ 132159 h 3388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21593" h="3388738">
                      <a:moveTo>
                        <a:pt x="0" y="132159"/>
                      </a:moveTo>
                      <a:cubicBezTo>
                        <a:pt x="0" y="59170"/>
                        <a:pt x="59170" y="0"/>
                        <a:pt x="132159" y="0"/>
                      </a:cubicBezTo>
                      <a:lnTo>
                        <a:pt x="1189434" y="0"/>
                      </a:lnTo>
                      <a:cubicBezTo>
                        <a:pt x="1262423" y="0"/>
                        <a:pt x="1321593" y="59170"/>
                        <a:pt x="1321593" y="132159"/>
                      </a:cubicBezTo>
                      <a:lnTo>
                        <a:pt x="1321593" y="3256579"/>
                      </a:lnTo>
                      <a:cubicBezTo>
                        <a:pt x="1321593" y="3329568"/>
                        <a:pt x="1262423" y="3388738"/>
                        <a:pt x="1189434" y="3388738"/>
                      </a:cubicBezTo>
                      <a:lnTo>
                        <a:pt x="132159" y="3388738"/>
                      </a:lnTo>
                      <a:cubicBezTo>
                        <a:pt x="59170" y="3388738"/>
                        <a:pt x="0" y="3329568"/>
                        <a:pt x="0" y="3256579"/>
                      </a:cubicBezTo>
                      <a:lnTo>
                        <a:pt x="0" y="132159"/>
                      </a:lnTo>
                      <a:close/>
                    </a:path>
                  </a:pathLst>
                </a:custGeom>
                <a:noFill/>
                <a:ln w="3175">
                  <a:solidFill>
                    <a:schemeClr val="bg2"/>
                  </a:solidFill>
                </a:ln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9568" tIns="1455063" rIns="99568" bIns="7773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kern="1200">
                      <a:solidFill>
                        <a:schemeClr val="bg1"/>
                      </a:solidFill>
                    </a:rPr>
                    <a:t>System prompt</a:t>
                  </a:r>
                </a:p>
              </p:txBody>
            </p:sp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15C13C34-CF43-8441-1860-845FDBC44B45}"/>
                    </a:ext>
                  </a:extLst>
                </p:cNvPr>
                <p:cNvSpPr/>
                <p:nvPr/>
              </p:nvSpPr>
              <p:spPr>
                <a:xfrm>
                  <a:off x="6857385" y="3509232"/>
                  <a:ext cx="1128449" cy="1128449"/>
                </a:xfrm>
                <a:prstGeom prst="ellipse">
                  <a:avLst/>
                </a:prstGeom>
                <a:solidFill>
                  <a:schemeClr val="accent1"/>
                </a:solidFill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dk1"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361B2A9E-363F-E697-70D1-5093ADFD2023}"/>
                    </a:ext>
                  </a:extLst>
                </p:cNvPr>
                <p:cNvSpPr/>
                <p:nvPr/>
              </p:nvSpPr>
              <p:spPr>
                <a:xfrm>
                  <a:off x="5399650" y="3305908"/>
                  <a:ext cx="1321593" cy="3388738"/>
                </a:xfrm>
                <a:custGeom>
                  <a:avLst/>
                  <a:gdLst>
                    <a:gd name="connsiteX0" fmla="*/ 0 w 1321593"/>
                    <a:gd name="connsiteY0" fmla="*/ 132159 h 3388738"/>
                    <a:gd name="connsiteX1" fmla="*/ 132159 w 1321593"/>
                    <a:gd name="connsiteY1" fmla="*/ 0 h 3388738"/>
                    <a:gd name="connsiteX2" fmla="*/ 1189434 w 1321593"/>
                    <a:gd name="connsiteY2" fmla="*/ 0 h 3388738"/>
                    <a:gd name="connsiteX3" fmla="*/ 1321593 w 1321593"/>
                    <a:gd name="connsiteY3" fmla="*/ 132159 h 3388738"/>
                    <a:gd name="connsiteX4" fmla="*/ 1321593 w 1321593"/>
                    <a:gd name="connsiteY4" fmla="*/ 3256579 h 3388738"/>
                    <a:gd name="connsiteX5" fmla="*/ 1189434 w 1321593"/>
                    <a:gd name="connsiteY5" fmla="*/ 3388738 h 3388738"/>
                    <a:gd name="connsiteX6" fmla="*/ 132159 w 1321593"/>
                    <a:gd name="connsiteY6" fmla="*/ 3388738 h 3388738"/>
                    <a:gd name="connsiteX7" fmla="*/ 0 w 1321593"/>
                    <a:gd name="connsiteY7" fmla="*/ 3256579 h 3388738"/>
                    <a:gd name="connsiteX8" fmla="*/ 0 w 1321593"/>
                    <a:gd name="connsiteY8" fmla="*/ 132159 h 3388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21593" h="3388738">
                      <a:moveTo>
                        <a:pt x="0" y="132159"/>
                      </a:moveTo>
                      <a:cubicBezTo>
                        <a:pt x="0" y="59170"/>
                        <a:pt x="59170" y="0"/>
                        <a:pt x="132159" y="0"/>
                      </a:cubicBezTo>
                      <a:lnTo>
                        <a:pt x="1189434" y="0"/>
                      </a:lnTo>
                      <a:cubicBezTo>
                        <a:pt x="1262423" y="0"/>
                        <a:pt x="1321593" y="59170"/>
                        <a:pt x="1321593" y="132159"/>
                      </a:cubicBezTo>
                      <a:lnTo>
                        <a:pt x="1321593" y="3256579"/>
                      </a:lnTo>
                      <a:cubicBezTo>
                        <a:pt x="1321593" y="3329568"/>
                        <a:pt x="1262423" y="3388738"/>
                        <a:pt x="1189434" y="3388738"/>
                      </a:cubicBezTo>
                      <a:lnTo>
                        <a:pt x="132159" y="3388738"/>
                      </a:lnTo>
                      <a:cubicBezTo>
                        <a:pt x="59170" y="3388738"/>
                        <a:pt x="0" y="3329568"/>
                        <a:pt x="0" y="3256579"/>
                      </a:cubicBezTo>
                      <a:lnTo>
                        <a:pt x="0" y="132159"/>
                      </a:lnTo>
                      <a:close/>
                    </a:path>
                  </a:pathLst>
                </a:custGeom>
                <a:noFill/>
                <a:ln w="3175">
                  <a:solidFill>
                    <a:schemeClr val="bg2"/>
                  </a:solidFill>
                </a:ln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9568" tIns="1455063" rIns="99568" bIns="7773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kern="1200">
                      <a:solidFill>
                        <a:schemeClr val="bg1"/>
                      </a:solidFill>
                    </a:rPr>
                    <a:t>Temperature</a:t>
                  </a: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17825A80-797C-301E-A62E-ED28E054309E}"/>
                    </a:ext>
                  </a:extLst>
                </p:cNvPr>
                <p:cNvSpPr/>
                <p:nvPr/>
              </p:nvSpPr>
              <p:spPr>
                <a:xfrm>
                  <a:off x="5496222" y="3509232"/>
                  <a:ext cx="1128449" cy="1128449"/>
                </a:xfrm>
                <a:prstGeom prst="ellipse">
                  <a:avLst/>
                </a:prstGeom>
                <a:solidFill>
                  <a:schemeClr val="accent1"/>
                </a:solidFill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dk1"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7268EA23-EC85-635D-DF7C-585588EEF3C8}"/>
                    </a:ext>
                  </a:extLst>
                </p:cNvPr>
                <p:cNvSpPr/>
                <p:nvPr/>
              </p:nvSpPr>
              <p:spPr>
                <a:xfrm>
                  <a:off x="9483295" y="3314825"/>
                  <a:ext cx="1321593" cy="3388738"/>
                </a:xfrm>
                <a:custGeom>
                  <a:avLst/>
                  <a:gdLst>
                    <a:gd name="connsiteX0" fmla="*/ 0 w 1321593"/>
                    <a:gd name="connsiteY0" fmla="*/ 132159 h 3388738"/>
                    <a:gd name="connsiteX1" fmla="*/ 132159 w 1321593"/>
                    <a:gd name="connsiteY1" fmla="*/ 0 h 3388738"/>
                    <a:gd name="connsiteX2" fmla="*/ 1189434 w 1321593"/>
                    <a:gd name="connsiteY2" fmla="*/ 0 h 3388738"/>
                    <a:gd name="connsiteX3" fmla="*/ 1321593 w 1321593"/>
                    <a:gd name="connsiteY3" fmla="*/ 132159 h 3388738"/>
                    <a:gd name="connsiteX4" fmla="*/ 1321593 w 1321593"/>
                    <a:gd name="connsiteY4" fmla="*/ 3256579 h 3388738"/>
                    <a:gd name="connsiteX5" fmla="*/ 1189434 w 1321593"/>
                    <a:gd name="connsiteY5" fmla="*/ 3388738 h 3388738"/>
                    <a:gd name="connsiteX6" fmla="*/ 132159 w 1321593"/>
                    <a:gd name="connsiteY6" fmla="*/ 3388738 h 3388738"/>
                    <a:gd name="connsiteX7" fmla="*/ 0 w 1321593"/>
                    <a:gd name="connsiteY7" fmla="*/ 3256579 h 3388738"/>
                    <a:gd name="connsiteX8" fmla="*/ 0 w 1321593"/>
                    <a:gd name="connsiteY8" fmla="*/ 132159 h 3388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21593" h="3388738">
                      <a:moveTo>
                        <a:pt x="0" y="132159"/>
                      </a:moveTo>
                      <a:cubicBezTo>
                        <a:pt x="0" y="59170"/>
                        <a:pt x="59170" y="0"/>
                        <a:pt x="132159" y="0"/>
                      </a:cubicBezTo>
                      <a:lnTo>
                        <a:pt x="1189434" y="0"/>
                      </a:lnTo>
                      <a:cubicBezTo>
                        <a:pt x="1262423" y="0"/>
                        <a:pt x="1321593" y="59170"/>
                        <a:pt x="1321593" y="132159"/>
                      </a:cubicBezTo>
                      <a:lnTo>
                        <a:pt x="1321593" y="3256579"/>
                      </a:lnTo>
                      <a:cubicBezTo>
                        <a:pt x="1321593" y="3329568"/>
                        <a:pt x="1262423" y="3388738"/>
                        <a:pt x="1189434" y="3388738"/>
                      </a:cubicBezTo>
                      <a:lnTo>
                        <a:pt x="132159" y="3388738"/>
                      </a:lnTo>
                      <a:cubicBezTo>
                        <a:pt x="59170" y="3388738"/>
                        <a:pt x="0" y="3329568"/>
                        <a:pt x="0" y="3256579"/>
                      </a:cubicBezTo>
                      <a:lnTo>
                        <a:pt x="0" y="132159"/>
                      </a:lnTo>
                      <a:close/>
                    </a:path>
                  </a:pathLst>
                </a:custGeom>
                <a:noFill/>
                <a:ln w="3175">
                  <a:solidFill>
                    <a:schemeClr val="bg2"/>
                  </a:solidFill>
                </a:ln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9568" tIns="1455063" rIns="99568" bIns="7773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US" kern="1200">
                    <a:solidFill>
                      <a:schemeClr val="bg1"/>
                    </a:solidFill>
                  </a:endParaRPr>
                </a:p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kern="1200">
                      <a:solidFill>
                        <a:schemeClr val="bg1"/>
                      </a:solidFill>
                    </a:rPr>
                    <a:t>Embedding model</a:t>
                  </a:r>
                </a:p>
                <a:p>
                  <a:pPr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kern="1200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</a:rPr>
                    <a:t>not part of today's workshop</a:t>
                  </a:r>
                  <a:endParaRPr lang="cs-CZ" sz="1600" kern="1200">
                    <a:solidFill>
                      <a:schemeClr val="tx1">
                        <a:lumMod val="25000"/>
                        <a:lumOff val="75000"/>
                      </a:schemeClr>
                    </a:solidFill>
                  </a:endParaRP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7C253C0C-2D34-FCE3-206B-3AE2937386FB}"/>
                    </a:ext>
                  </a:extLst>
                </p:cNvPr>
                <p:cNvSpPr/>
                <p:nvPr/>
              </p:nvSpPr>
              <p:spPr>
                <a:xfrm>
                  <a:off x="9579868" y="3518150"/>
                  <a:ext cx="1128449" cy="1128449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dk1"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id="{73CAE380-1EA7-596E-E941-2F7F209BF961}"/>
                    </a:ext>
                  </a:extLst>
                </p:cNvPr>
                <p:cNvSpPr/>
                <p:nvPr/>
              </p:nvSpPr>
              <p:spPr>
                <a:xfrm>
                  <a:off x="8122134" y="3305908"/>
                  <a:ext cx="1321593" cy="3388738"/>
                </a:xfrm>
                <a:custGeom>
                  <a:avLst/>
                  <a:gdLst>
                    <a:gd name="connsiteX0" fmla="*/ 0 w 1321593"/>
                    <a:gd name="connsiteY0" fmla="*/ 132159 h 3388738"/>
                    <a:gd name="connsiteX1" fmla="*/ 132159 w 1321593"/>
                    <a:gd name="connsiteY1" fmla="*/ 0 h 3388738"/>
                    <a:gd name="connsiteX2" fmla="*/ 1189434 w 1321593"/>
                    <a:gd name="connsiteY2" fmla="*/ 0 h 3388738"/>
                    <a:gd name="connsiteX3" fmla="*/ 1321593 w 1321593"/>
                    <a:gd name="connsiteY3" fmla="*/ 132159 h 3388738"/>
                    <a:gd name="connsiteX4" fmla="*/ 1321593 w 1321593"/>
                    <a:gd name="connsiteY4" fmla="*/ 3256579 h 3388738"/>
                    <a:gd name="connsiteX5" fmla="*/ 1189434 w 1321593"/>
                    <a:gd name="connsiteY5" fmla="*/ 3388738 h 3388738"/>
                    <a:gd name="connsiteX6" fmla="*/ 132159 w 1321593"/>
                    <a:gd name="connsiteY6" fmla="*/ 3388738 h 3388738"/>
                    <a:gd name="connsiteX7" fmla="*/ 0 w 1321593"/>
                    <a:gd name="connsiteY7" fmla="*/ 3256579 h 3388738"/>
                    <a:gd name="connsiteX8" fmla="*/ 0 w 1321593"/>
                    <a:gd name="connsiteY8" fmla="*/ 132159 h 3388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21593" h="3388738">
                      <a:moveTo>
                        <a:pt x="0" y="132159"/>
                      </a:moveTo>
                      <a:cubicBezTo>
                        <a:pt x="0" y="59170"/>
                        <a:pt x="59170" y="0"/>
                        <a:pt x="132159" y="0"/>
                      </a:cubicBezTo>
                      <a:lnTo>
                        <a:pt x="1189434" y="0"/>
                      </a:lnTo>
                      <a:cubicBezTo>
                        <a:pt x="1262423" y="0"/>
                        <a:pt x="1321593" y="59170"/>
                        <a:pt x="1321593" y="132159"/>
                      </a:cubicBezTo>
                      <a:lnTo>
                        <a:pt x="1321593" y="3256579"/>
                      </a:lnTo>
                      <a:cubicBezTo>
                        <a:pt x="1321593" y="3329568"/>
                        <a:pt x="1262423" y="3388738"/>
                        <a:pt x="1189434" y="3388738"/>
                      </a:cubicBezTo>
                      <a:lnTo>
                        <a:pt x="132159" y="3388738"/>
                      </a:lnTo>
                      <a:cubicBezTo>
                        <a:pt x="59170" y="3388738"/>
                        <a:pt x="0" y="3329568"/>
                        <a:pt x="0" y="3256579"/>
                      </a:cubicBezTo>
                      <a:lnTo>
                        <a:pt x="0" y="132159"/>
                      </a:lnTo>
                      <a:close/>
                    </a:path>
                  </a:pathLst>
                </a:custGeom>
                <a:noFill/>
                <a:ln w="3175">
                  <a:solidFill>
                    <a:schemeClr val="bg2"/>
                  </a:solidFill>
                </a:ln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9568" tIns="1455063" rIns="99568" bIns="777316" numCol="1" spcCol="1270" anchor="ctr" anchorCtr="0">
                  <a:noAutofit/>
                </a:bodyPr>
                <a:lstStyle/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endParaRPr lang="en-US" kern="1200">
                    <a:solidFill>
                      <a:schemeClr val="bg1"/>
                    </a:solidFill>
                  </a:endParaRPr>
                </a:p>
                <a:p>
                  <a:pPr marL="0" lvl="0" indent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kern="1200">
                      <a:solidFill>
                        <a:schemeClr val="bg1"/>
                      </a:solidFill>
                    </a:rPr>
                    <a:t>Multiple-queries</a:t>
                  </a:r>
                </a:p>
                <a:p>
                  <a:pPr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kern="1200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</a:rPr>
                    <a:t>not part of today's workshop</a:t>
                  </a:r>
                  <a:endParaRPr lang="cs-CZ" sz="1600" kern="1200">
                    <a:solidFill>
                      <a:schemeClr val="tx1">
                        <a:lumMod val="25000"/>
                        <a:lumOff val="75000"/>
                      </a:schemeClr>
                    </a:solidFill>
                  </a:endParaRPr>
                </a:p>
              </p:txBody>
            </p:sp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CE6AD6C7-7F9C-ED80-578E-8814913DBD4B}"/>
                    </a:ext>
                  </a:extLst>
                </p:cNvPr>
                <p:cNvSpPr/>
                <p:nvPr/>
              </p:nvSpPr>
              <p:spPr>
                <a:xfrm>
                  <a:off x="8218706" y="3509232"/>
                  <a:ext cx="1128449" cy="1128449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</p:spPr>
              <p:style>
                <a:lnRef idx="2">
                  <a:schemeClr val="dk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dk1"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cs-CZ"/>
                </a:p>
              </p:txBody>
            </p:sp>
          </p:grpSp>
          <p:pic>
            <p:nvPicPr>
              <p:cNvPr id="9" name="Graphic 8" descr="Bed outline">
                <a:extLst>
                  <a:ext uri="{FF2B5EF4-FFF2-40B4-BE49-F238E27FC236}">
                    <a16:creationId xmlns:a16="http://schemas.microsoft.com/office/drawing/2014/main" id="{7623907F-1FC3-8BFB-4BD9-CBCFA22E20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732536" y="3573768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5" name="Graphic 14" descr="Cmd Terminal outline">
                <a:extLst>
                  <a:ext uri="{FF2B5EF4-FFF2-40B4-BE49-F238E27FC236}">
                    <a16:creationId xmlns:a16="http://schemas.microsoft.com/office/drawing/2014/main" id="{F8A2FECC-B0A4-38BB-CC07-AF10D00076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977084" y="3604444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9" name="Graphic 18" descr="Document outline">
                <a:extLst>
                  <a:ext uri="{FF2B5EF4-FFF2-40B4-BE49-F238E27FC236}">
                    <a16:creationId xmlns:a16="http://schemas.microsoft.com/office/drawing/2014/main" id="{9253FFB0-2A68-A237-47D2-99C67DBD34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538375" y="3575485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21" name="Graphic 20" descr="Good Inventory outline">
                <a:extLst>
                  <a:ext uri="{FF2B5EF4-FFF2-40B4-BE49-F238E27FC236}">
                    <a16:creationId xmlns:a16="http://schemas.microsoft.com/office/drawing/2014/main" id="{DF30482A-BF8B-6D91-6AC0-0FEE0D605D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8316640" y="3554959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31" name="Graphic 30" descr="Priorities outline">
                <a:extLst>
                  <a:ext uri="{FF2B5EF4-FFF2-40B4-BE49-F238E27FC236}">
                    <a16:creationId xmlns:a16="http://schemas.microsoft.com/office/drawing/2014/main" id="{66F95033-BDCB-B43E-F4C9-CBA02D3621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835123" y="3635555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37" name="Graphic 36" descr="Thermometer outline">
                <a:extLst>
                  <a:ext uri="{FF2B5EF4-FFF2-40B4-BE49-F238E27FC236}">
                    <a16:creationId xmlns:a16="http://schemas.microsoft.com/office/drawing/2014/main" id="{008972B0-4CEE-31AA-BF5F-E45BF5DC9C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617474" y="3624793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9AE797B4-F816-C1B0-C4D6-48E615B948EA}"/>
                </a:ext>
              </a:extLst>
            </p:cNvPr>
            <p:cNvSpPr/>
            <p:nvPr/>
          </p:nvSpPr>
          <p:spPr>
            <a:xfrm>
              <a:off x="3759368" y="1887121"/>
              <a:ext cx="1557531" cy="3810294"/>
            </a:xfrm>
            <a:custGeom>
              <a:avLst/>
              <a:gdLst>
                <a:gd name="connsiteX0" fmla="*/ 0 w 1321593"/>
                <a:gd name="connsiteY0" fmla="*/ 132159 h 3388738"/>
                <a:gd name="connsiteX1" fmla="*/ 132159 w 1321593"/>
                <a:gd name="connsiteY1" fmla="*/ 0 h 3388738"/>
                <a:gd name="connsiteX2" fmla="*/ 1189434 w 1321593"/>
                <a:gd name="connsiteY2" fmla="*/ 0 h 3388738"/>
                <a:gd name="connsiteX3" fmla="*/ 1321593 w 1321593"/>
                <a:gd name="connsiteY3" fmla="*/ 132159 h 3388738"/>
                <a:gd name="connsiteX4" fmla="*/ 1321593 w 1321593"/>
                <a:gd name="connsiteY4" fmla="*/ 3256579 h 3388738"/>
                <a:gd name="connsiteX5" fmla="*/ 1189434 w 1321593"/>
                <a:gd name="connsiteY5" fmla="*/ 3388738 h 3388738"/>
                <a:gd name="connsiteX6" fmla="*/ 132159 w 1321593"/>
                <a:gd name="connsiteY6" fmla="*/ 3388738 h 3388738"/>
                <a:gd name="connsiteX7" fmla="*/ 0 w 1321593"/>
                <a:gd name="connsiteY7" fmla="*/ 3256579 h 3388738"/>
                <a:gd name="connsiteX8" fmla="*/ 0 w 1321593"/>
                <a:gd name="connsiteY8" fmla="*/ 132159 h 338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21593" h="3388738">
                  <a:moveTo>
                    <a:pt x="0" y="132159"/>
                  </a:moveTo>
                  <a:cubicBezTo>
                    <a:pt x="0" y="59170"/>
                    <a:pt x="59170" y="0"/>
                    <a:pt x="132159" y="0"/>
                  </a:cubicBezTo>
                  <a:lnTo>
                    <a:pt x="1189434" y="0"/>
                  </a:lnTo>
                  <a:cubicBezTo>
                    <a:pt x="1262423" y="0"/>
                    <a:pt x="1321593" y="59170"/>
                    <a:pt x="1321593" y="132159"/>
                  </a:cubicBezTo>
                  <a:lnTo>
                    <a:pt x="1321593" y="3256579"/>
                  </a:lnTo>
                  <a:cubicBezTo>
                    <a:pt x="1321593" y="3329568"/>
                    <a:pt x="1262423" y="3388738"/>
                    <a:pt x="1189434" y="3388738"/>
                  </a:cubicBezTo>
                  <a:lnTo>
                    <a:pt x="132159" y="3388738"/>
                  </a:lnTo>
                  <a:cubicBezTo>
                    <a:pt x="59170" y="3388738"/>
                    <a:pt x="0" y="3329568"/>
                    <a:pt x="0" y="3256579"/>
                  </a:cubicBezTo>
                  <a:lnTo>
                    <a:pt x="0" y="132159"/>
                  </a:lnTo>
                  <a:close/>
                </a:path>
              </a:pathLst>
            </a:cu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568" tIns="1455063" rIns="99568" bIns="777316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>
                  <a:solidFill>
                    <a:schemeClr val="bg1"/>
                  </a:solidFill>
                  <a:cs typeface="Bai Jamjuree"/>
                </a:rPr>
                <a:t>Number of documents going into prompt</a:t>
              </a:r>
              <a:endParaRPr lang="en-US" kern="1200">
                <a:solidFill>
                  <a:schemeClr val="bg1"/>
                </a:solidFill>
                <a:cs typeface="Bai Jamjuree"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697C91B0-15D3-78CE-9B40-8E2E32E101F8}"/>
                </a:ext>
              </a:extLst>
            </p:cNvPr>
            <p:cNvSpPr/>
            <p:nvPr/>
          </p:nvSpPr>
          <p:spPr>
            <a:xfrm>
              <a:off x="3868886" y="2132535"/>
              <a:ext cx="1329906" cy="1268827"/>
            </a:xfrm>
            <a:prstGeom prst="ellipse">
              <a:avLst/>
            </a:prstGeom>
            <a:solidFill>
              <a:schemeClr val="accent1"/>
            </a:solidFill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cs-CZ"/>
            </a:p>
          </p:txBody>
        </p:sp>
      </p:grpSp>
      <p:pic>
        <p:nvPicPr>
          <p:cNvPr id="10" name="Graphic 30" descr="Priorities outline">
            <a:extLst>
              <a:ext uri="{FF2B5EF4-FFF2-40B4-BE49-F238E27FC236}">
                <a16:creationId xmlns:a16="http://schemas.microsoft.com/office/drawing/2014/main" id="{1479E0DF-BD48-5167-6137-3325A9DDD3F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878848" y="2249755"/>
            <a:ext cx="1077644" cy="1028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8622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D1A47-0863-4AB4-91ED-899A161CD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D1A47-0863-4AB4-91ED-899A161CD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81F898C-A8D6-4F3F-9BC0-2A9891FE6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9267" y="2015007"/>
            <a:ext cx="5308803" cy="1772793"/>
          </a:xfrm>
          <a:noFill/>
        </p:spPr>
        <p:txBody>
          <a:bodyPr vert="horz"/>
          <a:lstStyle/>
          <a:p>
            <a: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  <a:t>Practical session: </a:t>
            </a:r>
            <a:b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</a:br>
            <a:b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</a:br>
            <a:r>
              <a:rPr lang="en-US" sz="3200" b="1">
                <a:solidFill>
                  <a:schemeClr val="accent1"/>
                </a:solidFill>
                <a:ea typeface="+mn-ea"/>
                <a:cs typeface="Bai Jamjuree bold"/>
              </a:rPr>
              <a:t>RAG optimization with automated evalu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BD1EED-ADD7-4F2D-999A-6FEEF32804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37C99E-FD15-4DCC-8D86-578F5468FE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747106E-8B7B-1198-CC14-41B29DF14D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9" name="Graphic 17" descr="Monitor outline">
            <a:extLst>
              <a:ext uri="{FF2B5EF4-FFF2-40B4-BE49-F238E27FC236}">
                <a16:creationId xmlns:a16="http://schemas.microsoft.com/office/drawing/2014/main" id="{9A84CBE7-F30F-2F6A-973D-6C6489CC10AE}"/>
              </a:ext>
            </a:extLst>
          </p:cNvPr>
          <p:cNvGrpSpPr/>
          <p:nvPr/>
        </p:nvGrpSpPr>
        <p:grpSpPr>
          <a:xfrm>
            <a:off x="2578973" y="438872"/>
            <a:ext cx="7034055" cy="5980257"/>
            <a:chOff x="9970576" y="3188005"/>
            <a:chExt cx="762000" cy="647842"/>
          </a:xfrm>
          <a:gradFill>
            <a:gsLst>
              <a:gs pos="37000">
                <a:schemeClr val="accent1"/>
              </a:gs>
              <a:gs pos="81000">
                <a:schemeClr val="accent1">
                  <a:lumMod val="60000"/>
                  <a:lumOff val="40000"/>
                </a:schemeClr>
              </a:gs>
            </a:gsLst>
            <a:lin ang="21594000" scaled="0"/>
          </a:gra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B429F90-0A60-5E1A-9F2B-36A1387D8A90}"/>
                </a:ext>
              </a:extLst>
            </p:cNvPr>
            <p:cNvSpPr/>
            <p:nvPr/>
          </p:nvSpPr>
          <p:spPr>
            <a:xfrm>
              <a:off x="9970576" y="3188005"/>
              <a:ext cx="762000" cy="647842"/>
            </a:xfrm>
            <a:custGeom>
              <a:avLst/>
              <a:gdLst>
                <a:gd name="connsiteX0" fmla="*/ 723900 w 762000"/>
                <a:gd name="connsiteY0" fmla="*/ 0 h 647842"/>
                <a:gd name="connsiteX1" fmla="*/ 38100 w 762000"/>
                <a:gd name="connsiteY1" fmla="*/ 0 h 647842"/>
                <a:gd name="connsiteX2" fmla="*/ 0 w 762000"/>
                <a:gd name="connsiteY2" fmla="*/ 38100 h 647842"/>
                <a:gd name="connsiteX3" fmla="*/ 0 w 762000"/>
                <a:gd name="connsiteY3" fmla="*/ 495443 h 647842"/>
                <a:gd name="connsiteX4" fmla="*/ 38100 w 762000"/>
                <a:gd name="connsiteY4" fmla="*/ 533543 h 647842"/>
                <a:gd name="connsiteX5" fmla="*/ 314325 w 762000"/>
                <a:gd name="connsiteY5" fmla="*/ 533543 h 647842"/>
                <a:gd name="connsiteX6" fmla="*/ 314325 w 762000"/>
                <a:gd name="connsiteY6" fmla="*/ 628793 h 647842"/>
                <a:gd name="connsiteX7" fmla="*/ 209550 w 762000"/>
                <a:gd name="connsiteY7" fmla="*/ 628793 h 647842"/>
                <a:gd name="connsiteX8" fmla="*/ 209550 w 762000"/>
                <a:gd name="connsiteY8" fmla="*/ 647843 h 647842"/>
                <a:gd name="connsiteX9" fmla="*/ 552450 w 762000"/>
                <a:gd name="connsiteY9" fmla="*/ 647843 h 647842"/>
                <a:gd name="connsiteX10" fmla="*/ 552450 w 762000"/>
                <a:gd name="connsiteY10" fmla="*/ 628793 h 647842"/>
                <a:gd name="connsiteX11" fmla="*/ 447675 w 762000"/>
                <a:gd name="connsiteY11" fmla="*/ 628793 h 647842"/>
                <a:gd name="connsiteX12" fmla="*/ 447675 w 762000"/>
                <a:gd name="connsiteY12" fmla="*/ 533543 h 647842"/>
                <a:gd name="connsiteX13" fmla="*/ 723900 w 762000"/>
                <a:gd name="connsiteY13" fmla="*/ 533543 h 647842"/>
                <a:gd name="connsiteX14" fmla="*/ 762000 w 762000"/>
                <a:gd name="connsiteY14" fmla="*/ 495443 h 647842"/>
                <a:gd name="connsiteX15" fmla="*/ 762000 w 762000"/>
                <a:gd name="connsiteY15" fmla="*/ 38100 h 647842"/>
                <a:gd name="connsiteX16" fmla="*/ 723900 w 762000"/>
                <a:gd name="connsiteY16" fmla="*/ 0 h 647842"/>
                <a:gd name="connsiteX17" fmla="*/ 428625 w 762000"/>
                <a:gd name="connsiteY17" fmla="*/ 628831 h 647842"/>
                <a:gd name="connsiteX18" fmla="*/ 333375 w 762000"/>
                <a:gd name="connsiteY18" fmla="*/ 628831 h 647842"/>
                <a:gd name="connsiteX19" fmla="*/ 333375 w 762000"/>
                <a:gd name="connsiteY19" fmla="*/ 533581 h 647842"/>
                <a:gd name="connsiteX20" fmla="*/ 428625 w 762000"/>
                <a:gd name="connsiteY20" fmla="*/ 533581 h 647842"/>
                <a:gd name="connsiteX21" fmla="*/ 742950 w 762000"/>
                <a:gd name="connsiteY21" fmla="*/ 495481 h 647842"/>
                <a:gd name="connsiteX22" fmla="*/ 723900 w 762000"/>
                <a:gd name="connsiteY22" fmla="*/ 514531 h 647842"/>
                <a:gd name="connsiteX23" fmla="*/ 38100 w 762000"/>
                <a:gd name="connsiteY23" fmla="*/ 514531 h 647842"/>
                <a:gd name="connsiteX24" fmla="*/ 19050 w 762000"/>
                <a:gd name="connsiteY24" fmla="*/ 495481 h 647842"/>
                <a:gd name="connsiteX25" fmla="*/ 19050 w 762000"/>
                <a:gd name="connsiteY25" fmla="*/ 38100 h 647842"/>
                <a:gd name="connsiteX26" fmla="*/ 38100 w 762000"/>
                <a:gd name="connsiteY26" fmla="*/ 19050 h 647842"/>
                <a:gd name="connsiteX27" fmla="*/ 723900 w 762000"/>
                <a:gd name="connsiteY27" fmla="*/ 19050 h 647842"/>
                <a:gd name="connsiteX28" fmla="*/ 742950 w 762000"/>
                <a:gd name="connsiteY28" fmla="*/ 38100 h 64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62000" h="647842">
                  <a:moveTo>
                    <a:pt x="723900" y="0"/>
                  </a:moveTo>
                  <a:lnTo>
                    <a:pt x="38100" y="0"/>
                  </a:lnTo>
                  <a:cubicBezTo>
                    <a:pt x="17084" y="63"/>
                    <a:pt x="63" y="17084"/>
                    <a:pt x="0" y="38100"/>
                  </a:cubicBezTo>
                  <a:lnTo>
                    <a:pt x="0" y="495443"/>
                  </a:lnTo>
                  <a:cubicBezTo>
                    <a:pt x="68" y="516457"/>
                    <a:pt x="17086" y="533475"/>
                    <a:pt x="38100" y="533543"/>
                  </a:cubicBezTo>
                  <a:lnTo>
                    <a:pt x="314325" y="533543"/>
                  </a:lnTo>
                  <a:lnTo>
                    <a:pt x="314325" y="628793"/>
                  </a:lnTo>
                  <a:lnTo>
                    <a:pt x="209550" y="628793"/>
                  </a:lnTo>
                  <a:lnTo>
                    <a:pt x="209550" y="647843"/>
                  </a:lnTo>
                  <a:lnTo>
                    <a:pt x="552450" y="647843"/>
                  </a:lnTo>
                  <a:lnTo>
                    <a:pt x="552450" y="628793"/>
                  </a:lnTo>
                  <a:lnTo>
                    <a:pt x="447675" y="628793"/>
                  </a:lnTo>
                  <a:lnTo>
                    <a:pt x="447675" y="533543"/>
                  </a:lnTo>
                  <a:lnTo>
                    <a:pt x="723900" y="533543"/>
                  </a:lnTo>
                  <a:cubicBezTo>
                    <a:pt x="744914" y="533475"/>
                    <a:pt x="761932" y="516457"/>
                    <a:pt x="762000" y="495443"/>
                  </a:cubicBezTo>
                  <a:lnTo>
                    <a:pt x="762000" y="38100"/>
                  </a:lnTo>
                  <a:cubicBezTo>
                    <a:pt x="761937" y="17084"/>
                    <a:pt x="744916" y="63"/>
                    <a:pt x="723900" y="0"/>
                  </a:cubicBezTo>
                  <a:close/>
                  <a:moveTo>
                    <a:pt x="428625" y="628831"/>
                  </a:moveTo>
                  <a:lnTo>
                    <a:pt x="333375" y="628831"/>
                  </a:lnTo>
                  <a:lnTo>
                    <a:pt x="333375" y="533581"/>
                  </a:lnTo>
                  <a:lnTo>
                    <a:pt x="428625" y="533581"/>
                  </a:lnTo>
                  <a:close/>
                  <a:moveTo>
                    <a:pt x="742950" y="495481"/>
                  </a:moveTo>
                  <a:cubicBezTo>
                    <a:pt x="742950" y="506002"/>
                    <a:pt x="734421" y="514531"/>
                    <a:pt x="723900" y="514531"/>
                  </a:cubicBezTo>
                  <a:lnTo>
                    <a:pt x="38100" y="514531"/>
                  </a:lnTo>
                  <a:cubicBezTo>
                    <a:pt x="27579" y="514531"/>
                    <a:pt x="19050" y="506002"/>
                    <a:pt x="19050" y="495481"/>
                  </a:cubicBezTo>
                  <a:lnTo>
                    <a:pt x="19050" y="38100"/>
                  </a:lnTo>
                  <a:cubicBezTo>
                    <a:pt x="19050" y="27579"/>
                    <a:pt x="27579" y="19050"/>
                    <a:pt x="38100" y="19050"/>
                  </a:cubicBezTo>
                  <a:lnTo>
                    <a:pt x="723900" y="19050"/>
                  </a:lnTo>
                  <a:cubicBezTo>
                    <a:pt x="734421" y="19050"/>
                    <a:pt x="742950" y="27579"/>
                    <a:pt x="742950" y="381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C357788-3425-4D3A-D26F-16AB4A465C0D}"/>
                </a:ext>
              </a:extLst>
            </p:cNvPr>
            <p:cNvSpPr/>
            <p:nvPr/>
          </p:nvSpPr>
          <p:spPr>
            <a:xfrm>
              <a:off x="10018201" y="3235630"/>
              <a:ext cx="666750" cy="438283"/>
            </a:xfrm>
            <a:custGeom>
              <a:avLst/>
              <a:gdLst>
                <a:gd name="connsiteX0" fmla="*/ 19050 w 666750"/>
                <a:gd name="connsiteY0" fmla="*/ 0 h 438283"/>
                <a:gd name="connsiteX1" fmla="*/ 0 w 666750"/>
                <a:gd name="connsiteY1" fmla="*/ 0 h 438283"/>
                <a:gd name="connsiteX2" fmla="*/ 0 w 666750"/>
                <a:gd name="connsiteY2" fmla="*/ 438283 h 438283"/>
                <a:gd name="connsiteX3" fmla="*/ 666750 w 666750"/>
                <a:gd name="connsiteY3" fmla="*/ 438283 h 438283"/>
                <a:gd name="connsiteX4" fmla="*/ 666750 w 666750"/>
                <a:gd name="connsiteY4" fmla="*/ 0 h 438283"/>
                <a:gd name="connsiteX5" fmla="*/ 19050 w 666750"/>
                <a:gd name="connsiteY5" fmla="*/ 0 h 438283"/>
                <a:gd name="connsiteX6" fmla="*/ 647700 w 666750"/>
                <a:gd name="connsiteY6" fmla="*/ 419233 h 438283"/>
                <a:gd name="connsiteX7" fmla="*/ 19050 w 666750"/>
                <a:gd name="connsiteY7" fmla="*/ 419233 h 438283"/>
                <a:gd name="connsiteX8" fmla="*/ 19050 w 666750"/>
                <a:gd name="connsiteY8" fmla="*/ 19050 h 438283"/>
                <a:gd name="connsiteX9" fmla="*/ 647700 w 666750"/>
                <a:gd name="connsiteY9" fmla="*/ 19050 h 438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0" h="438283">
                  <a:moveTo>
                    <a:pt x="19050" y="0"/>
                  </a:moveTo>
                  <a:lnTo>
                    <a:pt x="0" y="0"/>
                  </a:lnTo>
                  <a:lnTo>
                    <a:pt x="0" y="438283"/>
                  </a:lnTo>
                  <a:lnTo>
                    <a:pt x="666750" y="438283"/>
                  </a:lnTo>
                  <a:lnTo>
                    <a:pt x="666750" y="0"/>
                  </a:lnTo>
                  <a:lnTo>
                    <a:pt x="19050" y="0"/>
                  </a:lnTo>
                  <a:close/>
                  <a:moveTo>
                    <a:pt x="647700" y="419233"/>
                  </a:moveTo>
                  <a:lnTo>
                    <a:pt x="19050" y="419233"/>
                  </a:lnTo>
                  <a:lnTo>
                    <a:pt x="19050" y="19050"/>
                  </a:lnTo>
                  <a:lnTo>
                    <a:pt x="64770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9318026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36BA7CF-4BB3-4309-AFAD-D430B660C7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36BA7CF-4BB3-4309-AFAD-D430B660C7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F21A00AE-E4AF-464E-B5D2-6A76EAA4C5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Graphic 12" descr="Baseball hat outline">
            <a:extLst>
              <a:ext uri="{FF2B5EF4-FFF2-40B4-BE49-F238E27FC236}">
                <a16:creationId xmlns:a16="http://schemas.microsoft.com/office/drawing/2014/main" id="{38807AE6-7DFE-49E3-8FD9-6BC52B2C2D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1046" y="103543"/>
            <a:ext cx="1771290" cy="1771290"/>
          </a:xfrm>
          <a:prstGeom prst="rect">
            <a:avLst/>
          </a:prstGeom>
          <a:effectLst>
            <a:glow rad="63500">
              <a:srgbClr val="00B0F0">
                <a:alpha val="40000"/>
              </a:srgbClr>
            </a:glow>
          </a:effectLst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2558E27-4E5E-4C51-92E7-27B329D8551A}"/>
              </a:ext>
            </a:extLst>
          </p:cNvPr>
          <p:cNvSpPr txBox="1">
            <a:spLocks/>
          </p:cNvSpPr>
          <p:nvPr/>
        </p:nvSpPr>
        <p:spPr>
          <a:xfrm>
            <a:off x="766265" y="1659403"/>
            <a:ext cx="4882296" cy="86177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err="1">
                <a:solidFill>
                  <a:srgbClr val="00B0F0"/>
                </a:solidFill>
                <a:latin typeface="Bai Jamjuree" panose="00000500000000000000" pitchFamily="2" charset="-34"/>
                <a:cs typeface="Bai Jamjuree" panose="00000500000000000000" pitchFamily="2" charset="-34"/>
              </a:rPr>
              <a:t>Dataclair</a:t>
            </a:r>
            <a:r>
              <a:rPr lang="en-US" sz="2800" b="1">
                <a:solidFill>
                  <a:srgbClr val="00B0F0"/>
                </a:solidFill>
                <a:latin typeface="Bai Jamjuree" panose="00000500000000000000" pitchFamily="2" charset="-34"/>
                <a:cs typeface="Bai Jamjuree" panose="00000500000000000000" pitchFamily="2" charset="-34"/>
              </a:rPr>
              <a:t> is looking for the missing piece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055BBBE-6C99-488D-96CE-1A113B656068}"/>
              </a:ext>
            </a:extLst>
          </p:cNvPr>
          <p:cNvSpPr txBox="1">
            <a:spLocks/>
          </p:cNvSpPr>
          <p:nvPr/>
        </p:nvSpPr>
        <p:spPr>
          <a:xfrm>
            <a:off x="766265" y="2785691"/>
            <a:ext cx="6633018" cy="15881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sz="3200" b="1">
                <a:solidFill>
                  <a:schemeClr val="bg1"/>
                </a:solidFill>
                <a:latin typeface="Bai Jamjuree"/>
                <a:cs typeface="Bai Jamjuree"/>
              </a:rPr>
              <a:t>SW Engineer</a:t>
            </a:r>
          </a:p>
          <a:p>
            <a:pPr>
              <a:lnSpc>
                <a:spcPct val="110000"/>
              </a:lnSpc>
            </a:pPr>
            <a:r>
              <a:rPr lang="en-US" sz="3200" b="1">
                <a:solidFill>
                  <a:schemeClr val="bg1"/>
                </a:solidFill>
                <a:latin typeface="Bai Jamjuree"/>
                <a:cs typeface="Bai Jamjuree"/>
              </a:rPr>
              <a:t>Junior AI Engineer</a:t>
            </a:r>
          </a:p>
          <a:p>
            <a:pPr>
              <a:lnSpc>
                <a:spcPct val="110000"/>
              </a:lnSpc>
            </a:pPr>
            <a:r>
              <a:rPr lang="en-US" sz="3200" b="1">
                <a:solidFill>
                  <a:schemeClr val="bg1"/>
                </a:solidFill>
                <a:latin typeface="Bai Jamjuree"/>
                <a:cs typeface="Bai Jamjuree"/>
              </a:rPr>
              <a:t>Data Scientis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A76A740-A1A4-4204-B281-712482A7AF47}"/>
              </a:ext>
            </a:extLst>
          </p:cNvPr>
          <p:cNvSpPr txBox="1">
            <a:spLocks/>
          </p:cNvSpPr>
          <p:nvPr/>
        </p:nvSpPr>
        <p:spPr>
          <a:xfrm>
            <a:off x="766265" y="4579629"/>
            <a:ext cx="4759154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chemeClr val="bg1"/>
                </a:solidFill>
                <a:latin typeface="Bai Jamjuree Light" panose="00000400000000000000" pitchFamily="2" charset="-34"/>
                <a:cs typeface="Bai Jamjuree Light" panose="00000400000000000000" pitchFamily="2" charset="-34"/>
              </a:rPr>
              <a:t>Turn bold ideas into algorithms and change the world for the better</a:t>
            </a:r>
            <a:r>
              <a:rPr lang="cs-CZ" sz="2000">
                <a:solidFill>
                  <a:schemeClr val="bg1"/>
                </a:solidFill>
                <a:latin typeface="Bai Jamjuree Light" panose="00000400000000000000" pitchFamily="2" charset="-34"/>
                <a:cs typeface="Bai Jamjuree Light" panose="00000400000000000000" pitchFamily="2" charset="-34"/>
              </a:rPr>
              <a:t>. </a:t>
            </a:r>
            <a:endParaRPr lang="en-US" sz="2000">
              <a:solidFill>
                <a:schemeClr val="bg1"/>
              </a:solidFill>
              <a:latin typeface="Bai Jamjuree Light" panose="00000400000000000000" pitchFamily="2" charset="-34"/>
              <a:cs typeface="Bai Jamjuree Light" panose="00000400000000000000" pitchFamily="2" charset="-34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5058FDD-4FE1-4AAD-88A8-99849024FCEA}"/>
              </a:ext>
            </a:extLst>
          </p:cNvPr>
          <p:cNvGrpSpPr/>
          <p:nvPr/>
        </p:nvGrpSpPr>
        <p:grpSpPr>
          <a:xfrm>
            <a:off x="772967" y="5565566"/>
            <a:ext cx="2214074" cy="615448"/>
            <a:chOff x="593546" y="589418"/>
            <a:chExt cx="2327593" cy="647003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43596E-27EA-4722-9614-5BA808A845A1}"/>
                </a:ext>
              </a:extLst>
            </p:cNvPr>
            <p:cNvSpPr/>
            <p:nvPr/>
          </p:nvSpPr>
          <p:spPr>
            <a:xfrm>
              <a:off x="593546" y="589418"/>
              <a:ext cx="660680" cy="643096"/>
            </a:xfrm>
            <a:custGeom>
              <a:avLst/>
              <a:gdLst>
                <a:gd name="connsiteX0" fmla="*/ 327968 w 660680"/>
                <a:gd name="connsiteY0" fmla="*/ 643096 h 643096"/>
                <a:gd name="connsiteX1" fmla="*/ 0 w 660680"/>
                <a:gd name="connsiteY1" fmla="*/ 643096 h 643096"/>
                <a:gd name="connsiteX2" fmla="*/ 0 w 660680"/>
                <a:gd name="connsiteY2" fmla="*/ 0 h 643096"/>
                <a:gd name="connsiteX3" fmla="*/ 327968 w 660680"/>
                <a:gd name="connsiteY3" fmla="*/ 0 h 643096"/>
                <a:gd name="connsiteX4" fmla="*/ 547636 w 660680"/>
                <a:gd name="connsiteY4" fmla="*/ 66431 h 643096"/>
                <a:gd name="connsiteX5" fmla="*/ 652865 w 660680"/>
                <a:gd name="connsiteY5" fmla="*/ 216040 h 643096"/>
                <a:gd name="connsiteX6" fmla="*/ 659564 w 660680"/>
                <a:gd name="connsiteY6" fmla="*/ 236695 h 643096"/>
                <a:gd name="connsiteX7" fmla="*/ 545403 w 660680"/>
                <a:gd name="connsiteY7" fmla="*/ 236695 h 643096"/>
                <a:gd name="connsiteX8" fmla="*/ 540937 w 660680"/>
                <a:gd name="connsiteY8" fmla="*/ 227763 h 643096"/>
                <a:gd name="connsiteX9" fmla="*/ 330201 w 660680"/>
                <a:gd name="connsiteY9" fmla="*/ 104112 h 643096"/>
                <a:gd name="connsiteX10" fmla="*/ 102996 w 660680"/>
                <a:gd name="connsiteY10" fmla="*/ 104112 h 643096"/>
                <a:gd name="connsiteX11" fmla="*/ 102996 w 660680"/>
                <a:gd name="connsiteY11" fmla="*/ 537867 h 643096"/>
                <a:gd name="connsiteX12" fmla="*/ 325735 w 660680"/>
                <a:gd name="connsiteY12" fmla="*/ 537867 h 643096"/>
                <a:gd name="connsiteX13" fmla="*/ 540100 w 660680"/>
                <a:gd name="connsiteY13" fmla="*/ 440454 h 643096"/>
                <a:gd name="connsiteX14" fmla="*/ 491254 w 660680"/>
                <a:gd name="connsiteY14" fmla="*/ 440454 h 643096"/>
                <a:gd name="connsiteX15" fmla="*/ 327968 w 660680"/>
                <a:gd name="connsiteY15" fmla="*/ 504652 h 643096"/>
                <a:gd name="connsiteX16" fmla="*/ 142910 w 660680"/>
                <a:gd name="connsiteY16" fmla="*/ 504652 h 643096"/>
                <a:gd name="connsiteX17" fmla="*/ 142910 w 660680"/>
                <a:gd name="connsiteY17" fmla="*/ 138444 h 643096"/>
                <a:gd name="connsiteX18" fmla="*/ 327968 w 660680"/>
                <a:gd name="connsiteY18" fmla="*/ 138444 h 643096"/>
                <a:gd name="connsiteX19" fmla="*/ 468645 w 660680"/>
                <a:gd name="connsiteY19" fmla="*/ 188407 h 643096"/>
                <a:gd name="connsiteX20" fmla="*/ 509955 w 660680"/>
                <a:gd name="connsiteY20" fmla="*/ 271306 h 643096"/>
                <a:gd name="connsiteX21" fmla="*/ 660681 w 660680"/>
                <a:gd name="connsiteY21" fmla="*/ 271585 h 643096"/>
                <a:gd name="connsiteX22" fmla="*/ 660681 w 660680"/>
                <a:gd name="connsiteY22" fmla="*/ 303126 h 643096"/>
                <a:gd name="connsiteX23" fmla="*/ 485113 w 660680"/>
                <a:gd name="connsiteY23" fmla="*/ 302847 h 643096"/>
                <a:gd name="connsiteX24" fmla="*/ 481764 w 660680"/>
                <a:gd name="connsiteY24" fmla="*/ 291403 h 643096"/>
                <a:gd name="connsiteX25" fmla="*/ 478972 w 660680"/>
                <a:gd name="connsiteY25" fmla="*/ 281634 h 643096"/>
                <a:gd name="connsiteX26" fmla="*/ 327968 w 660680"/>
                <a:gd name="connsiteY26" fmla="*/ 169985 h 643096"/>
                <a:gd name="connsiteX27" fmla="*/ 175567 w 660680"/>
                <a:gd name="connsiteY27" fmla="*/ 169985 h 643096"/>
                <a:gd name="connsiteX28" fmla="*/ 175567 w 660680"/>
                <a:gd name="connsiteY28" fmla="*/ 472553 h 643096"/>
                <a:gd name="connsiteX29" fmla="*/ 327968 w 660680"/>
                <a:gd name="connsiteY29" fmla="*/ 472553 h 643096"/>
                <a:gd name="connsiteX30" fmla="*/ 469203 w 660680"/>
                <a:gd name="connsiteY30" fmla="*/ 415333 h 643096"/>
                <a:gd name="connsiteX31" fmla="*/ 473948 w 660680"/>
                <a:gd name="connsiteY31" fmla="*/ 408355 h 643096"/>
                <a:gd name="connsiteX32" fmla="*/ 583085 w 660680"/>
                <a:gd name="connsiteY32" fmla="*/ 408355 h 643096"/>
                <a:gd name="connsiteX33" fmla="*/ 578898 w 660680"/>
                <a:gd name="connsiteY33" fmla="*/ 427614 h 643096"/>
                <a:gd name="connsiteX34" fmla="*/ 511071 w 660680"/>
                <a:gd name="connsiteY34" fmla="*/ 519724 h 643096"/>
                <a:gd name="connsiteX35" fmla="*/ 325735 w 660680"/>
                <a:gd name="connsiteY35" fmla="*/ 569408 h 643096"/>
                <a:gd name="connsiteX36" fmla="*/ 70339 w 660680"/>
                <a:gd name="connsiteY36" fmla="*/ 569408 h 643096"/>
                <a:gd name="connsiteX37" fmla="*/ 70339 w 660680"/>
                <a:gd name="connsiteY37" fmla="*/ 72292 h 643096"/>
                <a:gd name="connsiteX38" fmla="*/ 329922 w 660680"/>
                <a:gd name="connsiteY38" fmla="*/ 72292 h 643096"/>
                <a:gd name="connsiteX39" fmla="*/ 493487 w 660680"/>
                <a:gd name="connsiteY39" fmla="*/ 117789 h 643096"/>
                <a:gd name="connsiteX40" fmla="*/ 565500 w 660680"/>
                <a:gd name="connsiteY40" fmla="*/ 204875 h 643096"/>
                <a:gd name="connsiteX41" fmla="*/ 614067 w 660680"/>
                <a:gd name="connsiteY41" fmla="*/ 204875 h 643096"/>
                <a:gd name="connsiteX42" fmla="*/ 327968 w 660680"/>
                <a:gd name="connsiteY42" fmla="*/ 31820 h 643096"/>
                <a:gd name="connsiteX43" fmla="*/ 32657 w 660680"/>
                <a:gd name="connsiteY43" fmla="*/ 31820 h 643096"/>
                <a:gd name="connsiteX44" fmla="*/ 32657 w 660680"/>
                <a:gd name="connsiteY44" fmla="*/ 611276 h 643096"/>
                <a:gd name="connsiteX45" fmla="*/ 327968 w 660680"/>
                <a:gd name="connsiteY45" fmla="*/ 611276 h 643096"/>
                <a:gd name="connsiteX46" fmla="*/ 534797 w 660680"/>
                <a:gd name="connsiteY46" fmla="*/ 552382 h 643096"/>
                <a:gd name="connsiteX47" fmla="*/ 624674 w 660680"/>
                <a:gd name="connsiteY47" fmla="*/ 373186 h 643096"/>
                <a:gd name="connsiteX48" fmla="*/ 483718 w 660680"/>
                <a:gd name="connsiteY48" fmla="*/ 373186 h 643096"/>
                <a:gd name="connsiteX49" fmla="*/ 483718 w 660680"/>
                <a:gd name="connsiteY49" fmla="*/ 341645 h 643096"/>
                <a:gd name="connsiteX50" fmla="*/ 657889 w 660680"/>
                <a:gd name="connsiteY50" fmla="*/ 341645 h 643096"/>
                <a:gd name="connsiteX51" fmla="*/ 657889 w 660680"/>
                <a:gd name="connsiteY51" fmla="*/ 357555 h 643096"/>
                <a:gd name="connsiteX52" fmla="*/ 554614 w 660680"/>
                <a:gd name="connsiteY52" fmla="*/ 577782 h 643096"/>
                <a:gd name="connsiteX53" fmla="*/ 327968 w 660680"/>
                <a:gd name="connsiteY53" fmla="*/ 643096 h 643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660680" h="643096">
                  <a:moveTo>
                    <a:pt x="327968" y="643096"/>
                  </a:moveTo>
                  <a:lnTo>
                    <a:pt x="0" y="643096"/>
                  </a:lnTo>
                  <a:lnTo>
                    <a:pt x="0" y="0"/>
                  </a:lnTo>
                  <a:lnTo>
                    <a:pt x="327968" y="0"/>
                  </a:lnTo>
                  <a:cubicBezTo>
                    <a:pt x="415333" y="0"/>
                    <a:pt x="489300" y="22330"/>
                    <a:pt x="547636" y="66431"/>
                  </a:cubicBezTo>
                  <a:cubicBezTo>
                    <a:pt x="596762" y="103554"/>
                    <a:pt x="633327" y="155192"/>
                    <a:pt x="652865" y="216040"/>
                  </a:cubicBezTo>
                  <a:lnTo>
                    <a:pt x="659564" y="236695"/>
                  </a:lnTo>
                  <a:lnTo>
                    <a:pt x="545403" y="236695"/>
                  </a:lnTo>
                  <a:lnTo>
                    <a:pt x="540937" y="227763"/>
                  </a:lnTo>
                  <a:cubicBezTo>
                    <a:pt x="508838" y="163565"/>
                    <a:pt x="461109" y="104112"/>
                    <a:pt x="330201" y="104112"/>
                  </a:cubicBezTo>
                  <a:lnTo>
                    <a:pt x="102996" y="104112"/>
                  </a:lnTo>
                  <a:lnTo>
                    <a:pt x="102996" y="537867"/>
                  </a:lnTo>
                  <a:lnTo>
                    <a:pt x="325735" y="537867"/>
                  </a:lnTo>
                  <a:cubicBezTo>
                    <a:pt x="458317" y="537867"/>
                    <a:pt x="519724" y="481764"/>
                    <a:pt x="540100" y="440454"/>
                  </a:cubicBezTo>
                  <a:lnTo>
                    <a:pt x="491254" y="440454"/>
                  </a:lnTo>
                  <a:cubicBezTo>
                    <a:pt x="457201" y="485392"/>
                    <a:pt x="407796" y="504652"/>
                    <a:pt x="327968" y="504652"/>
                  </a:cubicBezTo>
                  <a:lnTo>
                    <a:pt x="142910" y="504652"/>
                  </a:lnTo>
                  <a:lnTo>
                    <a:pt x="142910" y="138444"/>
                  </a:lnTo>
                  <a:lnTo>
                    <a:pt x="327968" y="138444"/>
                  </a:lnTo>
                  <a:cubicBezTo>
                    <a:pt x="390212" y="138444"/>
                    <a:pt x="437662" y="155192"/>
                    <a:pt x="468645" y="188407"/>
                  </a:cubicBezTo>
                  <a:cubicBezTo>
                    <a:pt x="494045" y="215482"/>
                    <a:pt x="503814" y="248418"/>
                    <a:pt x="509955" y="271306"/>
                  </a:cubicBezTo>
                  <a:lnTo>
                    <a:pt x="660681" y="271585"/>
                  </a:lnTo>
                  <a:lnTo>
                    <a:pt x="660681" y="303126"/>
                  </a:lnTo>
                  <a:lnTo>
                    <a:pt x="485113" y="302847"/>
                  </a:lnTo>
                  <a:lnTo>
                    <a:pt x="481764" y="291403"/>
                  </a:lnTo>
                  <a:cubicBezTo>
                    <a:pt x="480926" y="288333"/>
                    <a:pt x="480089" y="284983"/>
                    <a:pt x="478972" y="281634"/>
                  </a:cubicBezTo>
                  <a:cubicBezTo>
                    <a:pt x="466691" y="237253"/>
                    <a:pt x="448269" y="169985"/>
                    <a:pt x="327968" y="169985"/>
                  </a:cubicBezTo>
                  <a:lnTo>
                    <a:pt x="175567" y="169985"/>
                  </a:lnTo>
                  <a:lnTo>
                    <a:pt x="175567" y="472553"/>
                  </a:lnTo>
                  <a:lnTo>
                    <a:pt x="327968" y="472553"/>
                  </a:lnTo>
                  <a:cubicBezTo>
                    <a:pt x="412821" y="472553"/>
                    <a:pt x="445757" y="449665"/>
                    <a:pt x="469203" y="415333"/>
                  </a:cubicBezTo>
                  <a:lnTo>
                    <a:pt x="473948" y="408355"/>
                  </a:lnTo>
                  <a:lnTo>
                    <a:pt x="583085" y="408355"/>
                  </a:lnTo>
                  <a:lnTo>
                    <a:pt x="578898" y="427614"/>
                  </a:lnTo>
                  <a:cubicBezTo>
                    <a:pt x="575548" y="443524"/>
                    <a:pt x="561872" y="484276"/>
                    <a:pt x="511071" y="519724"/>
                  </a:cubicBezTo>
                  <a:cubicBezTo>
                    <a:pt x="464179" y="552661"/>
                    <a:pt x="401656" y="569408"/>
                    <a:pt x="325735" y="569408"/>
                  </a:cubicBezTo>
                  <a:lnTo>
                    <a:pt x="70339" y="569408"/>
                  </a:lnTo>
                  <a:lnTo>
                    <a:pt x="70339" y="72292"/>
                  </a:lnTo>
                  <a:lnTo>
                    <a:pt x="329922" y="72292"/>
                  </a:lnTo>
                  <a:cubicBezTo>
                    <a:pt x="398027" y="72292"/>
                    <a:pt x="451339" y="87086"/>
                    <a:pt x="493487" y="117789"/>
                  </a:cubicBezTo>
                  <a:cubicBezTo>
                    <a:pt x="529214" y="143748"/>
                    <a:pt x="550707" y="176963"/>
                    <a:pt x="565500" y="204875"/>
                  </a:cubicBezTo>
                  <a:lnTo>
                    <a:pt x="614067" y="204875"/>
                  </a:lnTo>
                  <a:cubicBezTo>
                    <a:pt x="587551" y="140398"/>
                    <a:pt x="514979" y="31820"/>
                    <a:pt x="327968" y="31820"/>
                  </a:cubicBezTo>
                  <a:lnTo>
                    <a:pt x="32657" y="31820"/>
                  </a:lnTo>
                  <a:lnTo>
                    <a:pt x="32657" y="611276"/>
                  </a:lnTo>
                  <a:lnTo>
                    <a:pt x="327968" y="611276"/>
                  </a:lnTo>
                  <a:cubicBezTo>
                    <a:pt x="410029" y="611276"/>
                    <a:pt x="483438" y="590342"/>
                    <a:pt x="534797" y="552382"/>
                  </a:cubicBezTo>
                  <a:cubicBezTo>
                    <a:pt x="590900" y="510792"/>
                    <a:pt x="621324" y="450502"/>
                    <a:pt x="624674" y="373186"/>
                  </a:cubicBezTo>
                  <a:lnTo>
                    <a:pt x="483718" y="373186"/>
                  </a:lnTo>
                  <a:lnTo>
                    <a:pt x="483718" y="341645"/>
                  </a:lnTo>
                  <a:lnTo>
                    <a:pt x="657889" y="341645"/>
                  </a:lnTo>
                  <a:lnTo>
                    <a:pt x="657889" y="357555"/>
                  </a:lnTo>
                  <a:cubicBezTo>
                    <a:pt x="657889" y="451619"/>
                    <a:pt x="622162" y="527819"/>
                    <a:pt x="554614" y="577782"/>
                  </a:cubicBezTo>
                  <a:cubicBezTo>
                    <a:pt x="496836" y="620487"/>
                    <a:pt x="418403" y="643096"/>
                    <a:pt x="327968" y="643096"/>
                  </a:cubicBezTo>
                </a:path>
              </a:pathLst>
            </a:custGeom>
            <a:solidFill>
              <a:srgbClr val="29B7EA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6B97D2F-DB8A-409D-8B60-43A9868B31B3}"/>
                </a:ext>
              </a:extLst>
            </p:cNvPr>
            <p:cNvSpPr/>
            <p:nvPr/>
          </p:nvSpPr>
          <p:spPr>
            <a:xfrm>
              <a:off x="1486455" y="809644"/>
              <a:ext cx="148213" cy="205712"/>
            </a:xfrm>
            <a:custGeom>
              <a:avLst/>
              <a:gdLst>
                <a:gd name="connsiteX0" fmla="*/ 115556 w 148213"/>
                <a:gd name="connsiteY0" fmla="*/ 193152 h 205712"/>
                <a:gd name="connsiteX1" fmla="*/ 75921 w 148213"/>
                <a:gd name="connsiteY1" fmla="*/ 205713 h 205712"/>
                <a:gd name="connsiteX2" fmla="*/ 0 w 148213"/>
                <a:gd name="connsiteY2" fmla="*/ 131745 h 205712"/>
                <a:gd name="connsiteX3" fmla="*/ 75921 w 148213"/>
                <a:gd name="connsiteY3" fmla="*/ 57778 h 205712"/>
                <a:gd name="connsiteX4" fmla="*/ 115556 w 148213"/>
                <a:gd name="connsiteY4" fmla="*/ 70618 h 205712"/>
                <a:gd name="connsiteX5" fmla="*/ 115556 w 148213"/>
                <a:gd name="connsiteY5" fmla="*/ 0 h 205712"/>
                <a:gd name="connsiteX6" fmla="*/ 148214 w 148213"/>
                <a:gd name="connsiteY6" fmla="*/ 0 h 205712"/>
                <a:gd name="connsiteX7" fmla="*/ 148214 w 148213"/>
                <a:gd name="connsiteY7" fmla="*/ 203480 h 205712"/>
                <a:gd name="connsiteX8" fmla="*/ 115556 w 148213"/>
                <a:gd name="connsiteY8" fmla="*/ 203480 h 205712"/>
                <a:gd name="connsiteX9" fmla="*/ 115556 w 148213"/>
                <a:gd name="connsiteY9" fmla="*/ 193152 h 205712"/>
                <a:gd name="connsiteX10" fmla="*/ 115556 w 148213"/>
                <a:gd name="connsiteY10" fmla="*/ 156029 h 205712"/>
                <a:gd name="connsiteX11" fmla="*/ 115556 w 148213"/>
                <a:gd name="connsiteY11" fmla="*/ 107183 h 205712"/>
                <a:gd name="connsiteX12" fmla="*/ 76200 w 148213"/>
                <a:gd name="connsiteY12" fmla="*/ 87644 h 205712"/>
                <a:gd name="connsiteX13" fmla="*/ 33215 w 148213"/>
                <a:gd name="connsiteY13" fmla="*/ 131466 h 205712"/>
                <a:gd name="connsiteX14" fmla="*/ 76200 w 148213"/>
                <a:gd name="connsiteY14" fmla="*/ 175288 h 205712"/>
                <a:gd name="connsiteX15" fmla="*/ 115556 w 148213"/>
                <a:gd name="connsiteY15" fmla="*/ 156029 h 20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205712">
                  <a:moveTo>
                    <a:pt x="115556" y="193152"/>
                  </a:moveTo>
                  <a:cubicBezTo>
                    <a:pt x="105229" y="201247"/>
                    <a:pt x="91552" y="205713"/>
                    <a:pt x="75921" y="205713"/>
                  </a:cubicBezTo>
                  <a:cubicBezTo>
                    <a:pt x="32099" y="205713"/>
                    <a:pt x="0" y="173614"/>
                    <a:pt x="0" y="131745"/>
                  </a:cubicBezTo>
                  <a:cubicBezTo>
                    <a:pt x="0" y="89877"/>
                    <a:pt x="32099" y="57778"/>
                    <a:pt x="75921" y="57778"/>
                  </a:cubicBezTo>
                  <a:cubicBezTo>
                    <a:pt x="91552" y="57778"/>
                    <a:pt x="105229" y="62523"/>
                    <a:pt x="115556" y="70618"/>
                  </a:cubicBezTo>
                  <a:lnTo>
                    <a:pt x="115556" y="0"/>
                  </a:lnTo>
                  <a:lnTo>
                    <a:pt x="148214" y="0"/>
                  </a:lnTo>
                  <a:lnTo>
                    <a:pt x="148214" y="203480"/>
                  </a:lnTo>
                  <a:lnTo>
                    <a:pt x="115556" y="203480"/>
                  </a:lnTo>
                  <a:lnTo>
                    <a:pt x="115556" y="193152"/>
                  </a:lnTo>
                  <a:moveTo>
                    <a:pt x="115556" y="156029"/>
                  </a:moveTo>
                  <a:lnTo>
                    <a:pt x="115556" y="107183"/>
                  </a:lnTo>
                  <a:cubicBezTo>
                    <a:pt x="107462" y="95460"/>
                    <a:pt x="92389" y="87644"/>
                    <a:pt x="76200" y="87644"/>
                  </a:cubicBezTo>
                  <a:cubicBezTo>
                    <a:pt x="51079" y="87644"/>
                    <a:pt x="33215" y="106624"/>
                    <a:pt x="33215" y="131466"/>
                  </a:cubicBezTo>
                  <a:cubicBezTo>
                    <a:pt x="33215" y="156308"/>
                    <a:pt x="51079" y="175288"/>
                    <a:pt x="76200" y="175288"/>
                  </a:cubicBezTo>
                  <a:cubicBezTo>
                    <a:pt x="92668" y="175567"/>
                    <a:pt x="107741" y="167752"/>
                    <a:pt x="115556" y="156029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440C278-6486-45BC-9BEB-77487A3DFA83}"/>
                </a:ext>
              </a:extLst>
            </p:cNvPr>
            <p:cNvSpPr/>
            <p:nvPr/>
          </p:nvSpPr>
          <p:spPr>
            <a:xfrm>
              <a:off x="1658394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4 w 148213"/>
                <a:gd name="connsiteY6" fmla="*/ 2233 h 147934"/>
                <a:gd name="connsiteX7" fmla="*/ 148214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5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4" y="2233"/>
                  </a:lnTo>
                  <a:lnTo>
                    <a:pt x="148214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5" y="48846"/>
                    <a:pt x="33215" y="73688"/>
                  </a:cubicBezTo>
                  <a:cubicBezTo>
                    <a:pt x="33215" y="98530"/>
                    <a:pt x="51079" y="117510"/>
                    <a:pt x="76200" y="117510"/>
                  </a:cubicBezTo>
                  <a:cubicBezTo>
                    <a:pt x="92389" y="117789"/>
                    <a:pt x="107462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A1CAC6D-6DFA-479D-A00D-BF1FD7D47BB5}"/>
                </a:ext>
              </a:extLst>
            </p:cNvPr>
            <p:cNvSpPr/>
            <p:nvPr/>
          </p:nvSpPr>
          <p:spPr>
            <a:xfrm>
              <a:off x="1825029" y="826671"/>
              <a:ext cx="108578" cy="186453"/>
            </a:xfrm>
            <a:custGeom>
              <a:avLst/>
              <a:gdLst>
                <a:gd name="connsiteX0" fmla="*/ 279 w 108578"/>
                <a:gd name="connsiteY0" fmla="*/ 42985 h 186453"/>
                <a:gd name="connsiteX1" fmla="*/ 21213 w 108578"/>
                <a:gd name="connsiteY1" fmla="*/ 42985 h 186453"/>
                <a:gd name="connsiteX2" fmla="*/ 21213 w 108578"/>
                <a:gd name="connsiteY2" fmla="*/ 15352 h 186453"/>
                <a:gd name="connsiteX3" fmla="*/ 53591 w 108578"/>
                <a:gd name="connsiteY3" fmla="*/ 0 h 186453"/>
                <a:gd name="connsiteX4" fmla="*/ 53591 w 108578"/>
                <a:gd name="connsiteY4" fmla="*/ 42985 h 186453"/>
                <a:gd name="connsiteX5" fmla="*/ 108578 w 108578"/>
                <a:gd name="connsiteY5" fmla="*/ 42985 h 186453"/>
                <a:gd name="connsiteX6" fmla="*/ 91552 w 108578"/>
                <a:gd name="connsiteY6" fmla="*/ 71176 h 186453"/>
                <a:gd name="connsiteX7" fmla="*/ 53591 w 108578"/>
                <a:gd name="connsiteY7" fmla="*/ 71176 h 186453"/>
                <a:gd name="connsiteX8" fmla="*/ 53591 w 108578"/>
                <a:gd name="connsiteY8" fmla="*/ 136211 h 186453"/>
                <a:gd name="connsiteX9" fmla="*/ 74525 w 108578"/>
                <a:gd name="connsiteY9" fmla="*/ 157425 h 186453"/>
                <a:gd name="connsiteX10" fmla="*/ 94901 w 108578"/>
                <a:gd name="connsiteY10" fmla="*/ 157425 h 186453"/>
                <a:gd name="connsiteX11" fmla="*/ 94901 w 108578"/>
                <a:gd name="connsiteY11" fmla="*/ 186453 h 186453"/>
                <a:gd name="connsiteX12" fmla="*/ 66152 w 108578"/>
                <a:gd name="connsiteY12" fmla="*/ 186453 h 186453"/>
                <a:gd name="connsiteX13" fmla="*/ 20934 w 108578"/>
                <a:gd name="connsiteY13" fmla="*/ 142910 h 186453"/>
                <a:gd name="connsiteX14" fmla="*/ 20934 w 108578"/>
                <a:gd name="connsiteY14" fmla="*/ 71176 h 186453"/>
                <a:gd name="connsiteX15" fmla="*/ 0 w 108578"/>
                <a:gd name="connsiteY15" fmla="*/ 71176 h 186453"/>
                <a:gd name="connsiteX16" fmla="*/ 0 w 108578"/>
                <a:gd name="connsiteY16" fmla="*/ 42985 h 186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8578" h="186453">
                  <a:moveTo>
                    <a:pt x="279" y="42985"/>
                  </a:moveTo>
                  <a:lnTo>
                    <a:pt x="21213" y="42985"/>
                  </a:lnTo>
                  <a:lnTo>
                    <a:pt x="21213" y="15352"/>
                  </a:lnTo>
                  <a:lnTo>
                    <a:pt x="53591" y="0"/>
                  </a:lnTo>
                  <a:lnTo>
                    <a:pt x="53591" y="42985"/>
                  </a:lnTo>
                  <a:lnTo>
                    <a:pt x="108578" y="42985"/>
                  </a:lnTo>
                  <a:lnTo>
                    <a:pt x="91552" y="71176"/>
                  </a:lnTo>
                  <a:lnTo>
                    <a:pt x="53591" y="71176"/>
                  </a:lnTo>
                  <a:lnTo>
                    <a:pt x="53591" y="136211"/>
                  </a:lnTo>
                  <a:cubicBezTo>
                    <a:pt x="53591" y="150726"/>
                    <a:pt x="57778" y="157425"/>
                    <a:pt x="74525" y="157425"/>
                  </a:cubicBezTo>
                  <a:lnTo>
                    <a:pt x="94901" y="157425"/>
                  </a:lnTo>
                  <a:lnTo>
                    <a:pt x="94901" y="186453"/>
                  </a:lnTo>
                  <a:lnTo>
                    <a:pt x="66152" y="186453"/>
                  </a:lnTo>
                  <a:cubicBezTo>
                    <a:pt x="37681" y="186453"/>
                    <a:pt x="20934" y="170264"/>
                    <a:pt x="20934" y="142910"/>
                  </a:cubicBezTo>
                  <a:lnTo>
                    <a:pt x="20934" y="71176"/>
                  </a:lnTo>
                  <a:lnTo>
                    <a:pt x="0" y="71176"/>
                  </a:lnTo>
                  <a:lnTo>
                    <a:pt x="0" y="42985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E53E927-2BBA-4B7A-BF29-690D4117F565}"/>
                </a:ext>
              </a:extLst>
            </p:cNvPr>
            <p:cNvSpPr/>
            <p:nvPr/>
          </p:nvSpPr>
          <p:spPr>
            <a:xfrm>
              <a:off x="1931933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3 w 148213"/>
                <a:gd name="connsiteY6" fmla="*/ 2233 h 147934"/>
                <a:gd name="connsiteX7" fmla="*/ 148213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5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3" y="2233"/>
                  </a:lnTo>
                  <a:lnTo>
                    <a:pt x="148213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5" y="48846"/>
                    <a:pt x="33215" y="73688"/>
                  </a:cubicBezTo>
                  <a:cubicBezTo>
                    <a:pt x="33215" y="98530"/>
                    <a:pt x="51079" y="117510"/>
                    <a:pt x="76200" y="117510"/>
                  </a:cubicBezTo>
                  <a:cubicBezTo>
                    <a:pt x="92389" y="117789"/>
                    <a:pt x="107462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DE95814-8448-4AEB-8CB5-596B6C5941F4}"/>
                </a:ext>
              </a:extLst>
            </p:cNvPr>
            <p:cNvSpPr/>
            <p:nvPr/>
          </p:nvSpPr>
          <p:spPr>
            <a:xfrm>
              <a:off x="2103593" y="867423"/>
              <a:ext cx="132582" cy="147934"/>
            </a:xfrm>
            <a:custGeom>
              <a:avLst/>
              <a:gdLst>
                <a:gd name="connsiteX0" fmla="*/ 0 w 132582"/>
                <a:gd name="connsiteY0" fmla="*/ 73967 h 147934"/>
                <a:gd name="connsiteX1" fmla="*/ 76200 w 132582"/>
                <a:gd name="connsiteY1" fmla="*/ 0 h 147934"/>
                <a:gd name="connsiteX2" fmla="*/ 132583 w 132582"/>
                <a:gd name="connsiteY2" fmla="*/ 23725 h 147934"/>
                <a:gd name="connsiteX3" fmla="*/ 110532 w 132582"/>
                <a:gd name="connsiteY3" fmla="*/ 45776 h 147934"/>
                <a:gd name="connsiteX4" fmla="*/ 76200 w 132582"/>
                <a:gd name="connsiteY4" fmla="*/ 30703 h 147934"/>
                <a:gd name="connsiteX5" fmla="*/ 33216 w 132582"/>
                <a:gd name="connsiteY5" fmla="*/ 73967 h 147934"/>
                <a:gd name="connsiteX6" fmla="*/ 76200 w 132582"/>
                <a:gd name="connsiteY6" fmla="*/ 117231 h 147934"/>
                <a:gd name="connsiteX7" fmla="*/ 110532 w 132582"/>
                <a:gd name="connsiteY7" fmla="*/ 102158 h 147934"/>
                <a:gd name="connsiteX8" fmla="*/ 132583 w 132582"/>
                <a:gd name="connsiteY8" fmla="*/ 124209 h 147934"/>
                <a:gd name="connsiteX9" fmla="*/ 76200 w 132582"/>
                <a:gd name="connsiteY9" fmla="*/ 147934 h 147934"/>
                <a:gd name="connsiteX10" fmla="*/ 0 w 132582"/>
                <a:gd name="connsiteY10" fmla="*/ 73967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2582" h="147934">
                  <a:moveTo>
                    <a:pt x="0" y="73967"/>
                  </a:moveTo>
                  <a:cubicBezTo>
                    <a:pt x="0" y="32099"/>
                    <a:pt x="32657" y="0"/>
                    <a:pt x="76200" y="0"/>
                  </a:cubicBezTo>
                  <a:cubicBezTo>
                    <a:pt x="99925" y="0"/>
                    <a:pt x="119185" y="9490"/>
                    <a:pt x="132583" y="23725"/>
                  </a:cubicBezTo>
                  <a:lnTo>
                    <a:pt x="110532" y="45776"/>
                  </a:lnTo>
                  <a:cubicBezTo>
                    <a:pt x="102717" y="37123"/>
                    <a:pt x="91552" y="30703"/>
                    <a:pt x="76200" y="30703"/>
                  </a:cubicBezTo>
                  <a:cubicBezTo>
                    <a:pt x="51079" y="30703"/>
                    <a:pt x="33216" y="49125"/>
                    <a:pt x="33216" y="73967"/>
                  </a:cubicBezTo>
                  <a:cubicBezTo>
                    <a:pt x="33216" y="98809"/>
                    <a:pt x="51079" y="117231"/>
                    <a:pt x="76200" y="117231"/>
                  </a:cubicBezTo>
                  <a:cubicBezTo>
                    <a:pt x="91552" y="117231"/>
                    <a:pt x="102717" y="110532"/>
                    <a:pt x="110532" y="102158"/>
                  </a:cubicBezTo>
                  <a:lnTo>
                    <a:pt x="132583" y="124209"/>
                  </a:lnTo>
                  <a:cubicBezTo>
                    <a:pt x="118906" y="138444"/>
                    <a:pt x="99646" y="147934"/>
                    <a:pt x="76200" y="147934"/>
                  </a:cubicBezTo>
                  <a:cubicBezTo>
                    <a:pt x="32378" y="147934"/>
                    <a:pt x="0" y="115835"/>
                    <a:pt x="0" y="73967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AECF79C-7187-4632-9BC0-E8E6A1A0DBF7}"/>
                </a:ext>
              </a:extLst>
            </p:cNvPr>
            <p:cNvSpPr/>
            <p:nvPr/>
          </p:nvSpPr>
          <p:spPr>
            <a:xfrm>
              <a:off x="2258505" y="809644"/>
              <a:ext cx="32657" cy="203479"/>
            </a:xfrm>
            <a:custGeom>
              <a:avLst/>
              <a:gdLst>
                <a:gd name="connsiteX0" fmla="*/ 0 w 32657"/>
                <a:gd name="connsiteY0" fmla="*/ 0 h 203479"/>
                <a:gd name="connsiteX1" fmla="*/ 32657 w 32657"/>
                <a:gd name="connsiteY1" fmla="*/ 0 h 203479"/>
                <a:gd name="connsiteX2" fmla="*/ 32657 w 32657"/>
                <a:gd name="connsiteY2" fmla="*/ 203480 h 203479"/>
                <a:gd name="connsiteX3" fmla="*/ 0 w 32657"/>
                <a:gd name="connsiteY3" fmla="*/ 203480 h 203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57" h="203479">
                  <a:moveTo>
                    <a:pt x="0" y="0"/>
                  </a:moveTo>
                  <a:lnTo>
                    <a:pt x="32657" y="0"/>
                  </a:lnTo>
                  <a:lnTo>
                    <a:pt x="32657" y="203480"/>
                  </a:lnTo>
                  <a:lnTo>
                    <a:pt x="0" y="20348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F46A300-0803-404D-B3BB-91736E2B1DA2}"/>
                </a:ext>
              </a:extLst>
            </p:cNvPr>
            <p:cNvSpPr/>
            <p:nvPr/>
          </p:nvSpPr>
          <p:spPr>
            <a:xfrm>
              <a:off x="2314608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4 w 148213"/>
                <a:gd name="connsiteY6" fmla="*/ 2233 h 147934"/>
                <a:gd name="connsiteX7" fmla="*/ 148214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6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4" y="2233"/>
                  </a:lnTo>
                  <a:lnTo>
                    <a:pt x="148214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6" y="48846"/>
                    <a:pt x="33216" y="73688"/>
                  </a:cubicBezTo>
                  <a:cubicBezTo>
                    <a:pt x="33216" y="98530"/>
                    <a:pt x="51079" y="117510"/>
                    <a:pt x="76200" y="117510"/>
                  </a:cubicBezTo>
                  <a:cubicBezTo>
                    <a:pt x="92668" y="117789"/>
                    <a:pt x="107741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E96AF58-ABCB-4BAF-AECD-70DD2D2851FE}"/>
                </a:ext>
              </a:extLst>
            </p:cNvPr>
            <p:cNvSpPr/>
            <p:nvPr/>
          </p:nvSpPr>
          <p:spPr>
            <a:xfrm>
              <a:off x="2489897" y="807411"/>
              <a:ext cx="42984" cy="205433"/>
            </a:xfrm>
            <a:custGeom>
              <a:avLst/>
              <a:gdLst>
                <a:gd name="connsiteX0" fmla="*/ 0 w 42984"/>
                <a:gd name="connsiteY0" fmla="*/ 20934 h 205433"/>
                <a:gd name="connsiteX1" fmla="*/ 21492 w 42984"/>
                <a:gd name="connsiteY1" fmla="*/ 0 h 205433"/>
                <a:gd name="connsiteX2" fmla="*/ 42985 w 42984"/>
                <a:gd name="connsiteY2" fmla="*/ 20934 h 205433"/>
                <a:gd name="connsiteX3" fmla="*/ 37681 w 42984"/>
                <a:gd name="connsiteY3" fmla="*/ 34611 h 205433"/>
                <a:gd name="connsiteX4" fmla="*/ 5303 w 42984"/>
                <a:gd name="connsiteY4" fmla="*/ 34611 h 205433"/>
                <a:gd name="connsiteX5" fmla="*/ 0 w 42984"/>
                <a:gd name="connsiteY5" fmla="*/ 20934 h 205433"/>
                <a:gd name="connsiteX6" fmla="*/ 5303 w 42984"/>
                <a:gd name="connsiteY6" fmla="*/ 62244 h 205433"/>
                <a:gd name="connsiteX7" fmla="*/ 37960 w 42984"/>
                <a:gd name="connsiteY7" fmla="*/ 62244 h 205433"/>
                <a:gd name="connsiteX8" fmla="*/ 37960 w 42984"/>
                <a:gd name="connsiteY8" fmla="*/ 205433 h 205433"/>
                <a:gd name="connsiteX9" fmla="*/ 5582 w 42984"/>
                <a:gd name="connsiteY9" fmla="*/ 205433 h 205433"/>
                <a:gd name="connsiteX10" fmla="*/ 5582 w 42984"/>
                <a:gd name="connsiteY10" fmla="*/ 62244 h 20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984" h="205433">
                  <a:moveTo>
                    <a:pt x="0" y="20934"/>
                  </a:moveTo>
                  <a:cubicBezTo>
                    <a:pt x="0" y="9490"/>
                    <a:pt x="9769" y="0"/>
                    <a:pt x="21492" y="0"/>
                  </a:cubicBezTo>
                  <a:cubicBezTo>
                    <a:pt x="33215" y="0"/>
                    <a:pt x="42985" y="9490"/>
                    <a:pt x="42985" y="20934"/>
                  </a:cubicBezTo>
                  <a:cubicBezTo>
                    <a:pt x="42985" y="25679"/>
                    <a:pt x="41310" y="30703"/>
                    <a:pt x="37681" y="34611"/>
                  </a:cubicBezTo>
                  <a:lnTo>
                    <a:pt x="5303" y="34611"/>
                  </a:lnTo>
                  <a:cubicBezTo>
                    <a:pt x="2233" y="30982"/>
                    <a:pt x="0" y="26237"/>
                    <a:pt x="0" y="20934"/>
                  </a:cubicBezTo>
                  <a:moveTo>
                    <a:pt x="5303" y="62244"/>
                  </a:moveTo>
                  <a:lnTo>
                    <a:pt x="37960" y="62244"/>
                  </a:lnTo>
                  <a:lnTo>
                    <a:pt x="37960" y="205433"/>
                  </a:lnTo>
                  <a:lnTo>
                    <a:pt x="5582" y="205433"/>
                  </a:lnTo>
                  <a:lnTo>
                    <a:pt x="5582" y="62244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E09B84F-307F-4AA1-9376-4E11FC8DC60B}"/>
                </a:ext>
              </a:extLst>
            </p:cNvPr>
            <p:cNvSpPr/>
            <p:nvPr/>
          </p:nvSpPr>
          <p:spPr>
            <a:xfrm>
              <a:off x="2560235" y="867423"/>
              <a:ext cx="81503" cy="145422"/>
            </a:xfrm>
            <a:custGeom>
              <a:avLst/>
              <a:gdLst>
                <a:gd name="connsiteX0" fmla="*/ 0 w 81503"/>
                <a:gd name="connsiteY0" fmla="*/ 2233 h 145422"/>
                <a:gd name="connsiteX1" fmla="*/ 32657 w 81503"/>
                <a:gd name="connsiteY1" fmla="*/ 2233 h 145422"/>
                <a:gd name="connsiteX2" fmla="*/ 32657 w 81503"/>
                <a:gd name="connsiteY2" fmla="*/ 16189 h 145422"/>
                <a:gd name="connsiteX3" fmla="*/ 70897 w 81503"/>
                <a:gd name="connsiteY3" fmla="*/ 0 h 145422"/>
                <a:gd name="connsiteX4" fmla="*/ 81504 w 81503"/>
                <a:gd name="connsiteY4" fmla="*/ 837 h 145422"/>
                <a:gd name="connsiteX5" fmla="*/ 81504 w 81503"/>
                <a:gd name="connsiteY5" fmla="*/ 33774 h 145422"/>
                <a:gd name="connsiteX6" fmla="*/ 65314 w 81503"/>
                <a:gd name="connsiteY6" fmla="*/ 31820 h 145422"/>
                <a:gd name="connsiteX7" fmla="*/ 32657 w 81503"/>
                <a:gd name="connsiteY7" fmla="*/ 49125 h 145422"/>
                <a:gd name="connsiteX8" fmla="*/ 32657 w 81503"/>
                <a:gd name="connsiteY8" fmla="*/ 145422 h 145422"/>
                <a:gd name="connsiteX9" fmla="*/ 0 w 81503"/>
                <a:gd name="connsiteY9" fmla="*/ 145422 h 145422"/>
                <a:gd name="connsiteX10" fmla="*/ 0 w 81503"/>
                <a:gd name="connsiteY10" fmla="*/ 2233 h 14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1503" h="145422">
                  <a:moveTo>
                    <a:pt x="0" y="2233"/>
                  </a:moveTo>
                  <a:lnTo>
                    <a:pt x="32657" y="2233"/>
                  </a:lnTo>
                  <a:lnTo>
                    <a:pt x="32657" y="16189"/>
                  </a:lnTo>
                  <a:cubicBezTo>
                    <a:pt x="42147" y="5303"/>
                    <a:pt x="54708" y="0"/>
                    <a:pt x="70897" y="0"/>
                  </a:cubicBezTo>
                  <a:cubicBezTo>
                    <a:pt x="74805" y="0"/>
                    <a:pt x="78433" y="279"/>
                    <a:pt x="81504" y="837"/>
                  </a:cubicBezTo>
                  <a:lnTo>
                    <a:pt x="81504" y="33774"/>
                  </a:lnTo>
                  <a:cubicBezTo>
                    <a:pt x="77038" y="32378"/>
                    <a:pt x="71455" y="31820"/>
                    <a:pt x="65314" y="31820"/>
                  </a:cubicBezTo>
                  <a:cubicBezTo>
                    <a:pt x="51358" y="31820"/>
                    <a:pt x="39356" y="36844"/>
                    <a:pt x="32657" y="49125"/>
                  </a:cubicBezTo>
                  <a:lnTo>
                    <a:pt x="32657" y="145422"/>
                  </a:lnTo>
                  <a:lnTo>
                    <a:pt x="0" y="145422"/>
                  </a:lnTo>
                  <a:lnTo>
                    <a:pt x="0" y="2233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5165221-A1E8-4B5E-8443-A612067EB7CD}"/>
                </a:ext>
              </a:extLst>
            </p:cNvPr>
            <p:cNvSpPr/>
            <p:nvPr/>
          </p:nvSpPr>
          <p:spPr>
            <a:xfrm>
              <a:off x="2636156" y="965952"/>
              <a:ext cx="51079" cy="49404"/>
            </a:xfrm>
            <a:custGeom>
              <a:avLst/>
              <a:gdLst>
                <a:gd name="connsiteX0" fmla="*/ 0 w 51079"/>
                <a:gd name="connsiteY0" fmla="*/ 24563 h 49404"/>
                <a:gd name="connsiteX1" fmla="*/ 25679 w 51079"/>
                <a:gd name="connsiteY1" fmla="*/ 0 h 49404"/>
                <a:gd name="connsiteX2" fmla="*/ 51079 w 51079"/>
                <a:gd name="connsiteY2" fmla="*/ 24563 h 49404"/>
                <a:gd name="connsiteX3" fmla="*/ 25679 w 51079"/>
                <a:gd name="connsiteY3" fmla="*/ 49405 h 49404"/>
                <a:gd name="connsiteX4" fmla="*/ 0 w 51079"/>
                <a:gd name="connsiteY4" fmla="*/ 24563 h 4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79" h="49404">
                  <a:moveTo>
                    <a:pt x="0" y="24563"/>
                  </a:moveTo>
                  <a:cubicBezTo>
                    <a:pt x="0" y="11165"/>
                    <a:pt x="11444" y="0"/>
                    <a:pt x="25679" y="0"/>
                  </a:cubicBezTo>
                  <a:cubicBezTo>
                    <a:pt x="39914" y="0"/>
                    <a:pt x="51079" y="11165"/>
                    <a:pt x="51079" y="24563"/>
                  </a:cubicBezTo>
                  <a:cubicBezTo>
                    <a:pt x="51079" y="38240"/>
                    <a:pt x="39914" y="49405"/>
                    <a:pt x="25679" y="49405"/>
                  </a:cubicBezTo>
                  <a:cubicBezTo>
                    <a:pt x="11444" y="49405"/>
                    <a:pt x="0" y="38240"/>
                    <a:pt x="0" y="24563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6A6A351-6A4C-42CF-A676-B13E5F3CD852}"/>
                </a:ext>
              </a:extLst>
            </p:cNvPr>
            <p:cNvSpPr/>
            <p:nvPr/>
          </p:nvSpPr>
          <p:spPr>
            <a:xfrm>
              <a:off x="2702866" y="867423"/>
              <a:ext cx="148213" cy="147934"/>
            </a:xfrm>
            <a:custGeom>
              <a:avLst/>
              <a:gdLst>
                <a:gd name="connsiteX0" fmla="*/ 115556 w 148213"/>
                <a:gd name="connsiteY0" fmla="*/ 135374 h 147934"/>
                <a:gd name="connsiteX1" fmla="*/ 75921 w 148213"/>
                <a:gd name="connsiteY1" fmla="*/ 147934 h 147934"/>
                <a:gd name="connsiteX2" fmla="*/ 0 w 148213"/>
                <a:gd name="connsiteY2" fmla="*/ 73967 h 147934"/>
                <a:gd name="connsiteX3" fmla="*/ 75921 w 148213"/>
                <a:gd name="connsiteY3" fmla="*/ 0 h 147934"/>
                <a:gd name="connsiteX4" fmla="*/ 115556 w 148213"/>
                <a:gd name="connsiteY4" fmla="*/ 12840 h 147934"/>
                <a:gd name="connsiteX5" fmla="*/ 115556 w 148213"/>
                <a:gd name="connsiteY5" fmla="*/ 2233 h 147934"/>
                <a:gd name="connsiteX6" fmla="*/ 148213 w 148213"/>
                <a:gd name="connsiteY6" fmla="*/ 2233 h 147934"/>
                <a:gd name="connsiteX7" fmla="*/ 148213 w 148213"/>
                <a:gd name="connsiteY7" fmla="*/ 145422 h 147934"/>
                <a:gd name="connsiteX8" fmla="*/ 115556 w 148213"/>
                <a:gd name="connsiteY8" fmla="*/ 145422 h 147934"/>
                <a:gd name="connsiteX9" fmla="*/ 115556 w 148213"/>
                <a:gd name="connsiteY9" fmla="*/ 135374 h 147934"/>
                <a:gd name="connsiteX10" fmla="*/ 115556 w 148213"/>
                <a:gd name="connsiteY10" fmla="*/ 98251 h 147934"/>
                <a:gd name="connsiteX11" fmla="*/ 115556 w 148213"/>
                <a:gd name="connsiteY11" fmla="*/ 49405 h 147934"/>
                <a:gd name="connsiteX12" fmla="*/ 76200 w 148213"/>
                <a:gd name="connsiteY12" fmla="*/ 29866 h 147934"/>
                <a:gd name="connsiteX13" fmla="*/ 33215 w 148213"/>
                <a:gd name="connsiteY13" fmla="*/ 73688 h 147934"/>
                <a:gd name="connsiteX14" fmla="*/ 76200 w 148213"/>
                <a:gd name="connsiteY14" fmla="*/ 117510 h 147934"/>
                <a:gd name="connsiteX15" fmla="*/ 115556 w 148213"/>
                <a:gd name="connsiteY15" fmla="*/ 98251 h 14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8213" h="147934">
                  <a:moveTo>
                    <a:pt x="115556" y="135374"/>
                  </a:moveTo>
                  <a:cubicBezTo>
                    <a:pt x="105229" y="143468"/>
                    <a:pt x="91552" y="147934"/>
                    <a:pt x="75921" y="147934"/>
                  </a:cubicBezTo>
                  <a:cubicBezTo>
                    <a:pt x="32099" y="147934"/>
                    <a:pt x="0" y="115835"/>
                    <a:pt x="0" y="73967"/>
                  </a:cubicBezTo>
                  <a:cubicBezTo>
                    <a:pt x="0" y="32099"/>
                    <a:pt x="32099" y="0"/>
                    <a:pt x="75921" y="0"/>
                  </a:cubicBezTo>
                  <a:cubicBezTo>
                    <a:pt x="91552" y="0"/>
                    <a:pt x="105229" y="4745"/>
                    <a:pt x="115556" y="12840"/>
                  </a:cubicBezTo>
                  <a:lnTo>
                    <a:pt x="115556" y="2233"/>
                  </a:lnTo>
                  <a:lnTo>
                    <a:pt x="148213" y="2233"/>
                  </a:lnTo>
                  <a:lnTo>
                    <a:pt x="148213" y="145422"/>
                  </a:lnTo>
                  <a:lnTo>
                    <a:pt x="115556" y="145422"/>
                  </a:lnTo>
                  <a:lnTo>
                    <a:pt x="115556" y="135374"/>
                  </a:lnTo>
                  <a:moveTo>
                    <a:pt x="115556" y="98251"/>
                  </a:moveTo>
                  <a:lnTo>
                    <a:pt x="115556" y="49405"/>
                  </a:lnTo>
                  <a:cubicBezTo>
                    <a:pt x="107462" y="37681"/>
                    <a:pt x="92389" y="29866"/>
                    <a:pt x="76200" y="29866"/>
                  </a:cubicBezTo>
                  <a:cubicBezTo>
                    <a:pt x="51079" y="29866"/>
                    <a:pt x="33215" y="48846"/>
                    <a:pt x="33215" y="73688"/>
                  </a:cubicBezTo>
                  <a:cubicBezTo>
                    <a:pt x="33215" y="98530"/>
                    <a:pt x="51079" y="117510"/>
                    <a:pt x="76200" y="117510"/>
                  </a:cubicBezTo>
                  <a:cubicBezTo>
                    <a:pt x="92389" y="117789"/>
                    <a:pt x="107462" y="109974"/>
                    <a:pt x="115556" y="98251"/>
                  </a:cubicBez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F3F4C5C-57C7-4E42-847A-1BFDEC320E3D}"/>
                </a:ext>
              </a:extLst>
            </p:cNvPr>
            <p:cNvSpPr/>
            <p:nvPr/>
          </p:nvSpPr>
          <p:spPr>
            <a:xfrm>
              <a:off x="2878155" y="807411"/>
              <a:ext cx="42984" cy="205433"/>
            </a:xfrm>
            <a:custGeom>
              <a:avLst/>
              <a:gdLst>
                <a:gd name="connsiteX0" fmla="*/ 0 w 42984"/>
                <a:gd name="connsiteY0" fmla="*/ 20934 h 205433"/>
                <a:gd name="connsiteX1" fmla="*/ 21492 w 42984"/>
                <a:gd name="connsiteY1" fmla="*/ 0 h 205433"/>
                <a:gd name="connsiteX2" fmla="*/ 42985 w 42984"/>
                <a:gd name="connsiteY2" fmla="*/ 20934 h 205433"/>
                <a:gd name="connsiteX3" fmla="*/ 37681 w 42984"/>
                <a:gd name="connsiteY3" fmla="*/ 34611 h 205433"/>
                <a:gd name="connsiteX4" fmla="*/ 5303 w 42984"/>
                <a:gd name="connsiteY4" fmla="*/ 34611 h 205433"/>
                <a:gd name="connsiteX5" fmla="*/ 0 w 42984"/>
                <a:gd name="connsiteY5" fmla="*/ 20934 h 205433"/>
                <a:gd name="connsiteX6" fmla="*/ 5303 w 42984"/>
                <a:gd name="connsiteY6" fmla="*/ 62244 h 205433"/>
                <a:gd name="connsiteX7" fmla="*/ 37960 w 42984"/>
                <a:gd name="connsiteY7" fmla="*/ 62244 h 205433"/>
                <a:gd name="connsiteX8" fmla="*/ 37960 w 42984"/>
                <a:gd name="connsiteY8" fmla="*/ 205433 h 205433"/>
                <a:gd name="connsiteX9" fmla="*/ 5303 w 42984"/>
                <a:gd name="connsiteY9" fmla="*/ 205433 h 205433"/>
                <a:gd name="connsiteX10" fmla="*/ 5303 w 42984"/>
                <a:gd name="connsiteY10" fmla="*/ 62244 h 20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984" h="205433">
                  <a:moveTo>
                    <a:pt x="0" y="20934"/>
                  </a:moveTo>
                  <a:cubicBezTo>
                    <a:pt x="0" y="9490"/>
                    <a:pt x="9769" y="0"/>
                    <a:pt x="21492" y="0"/>
                  </a:cubicBezTo>
                  <a:cubicBezTo>
                    <a:pt x="33216" y="0"/>
                    <a:pt x="42985" y="9490"/>
                    <a:pt x="42985" y="20934"/>
                  </a:cubicBezTo>
                  <a:cubicBezTo>
                    <a:pt x="42985" y="25679"/>
                    <a:pt x="41310" y="30703"/>
                    <a:pt x="37681" y="34611"/>
                  </a:cubicBezTo>
                  <a:lnTo>
                    <a:pt x="5303" y="34611"/>
                  </a:lnTo>
                  <a:cubicBezTo>
                    <a:pt x="1954" y="30982"/>
                    <a:pt x="0" y="26237"/>
                    <a:pt x="0" y="20934"/>
                  </a:cubicBezTo>
                  <a:moveTo>
                    <a:pt x="5303" y="62244"/>
                  </a:moveTo>
                  <a:lnTo>
                    <a:pt x="37960" y="62244"/>
                  </a:lnTo>
                  <a:lnTo>
                    <a:pt x="37960" y="205433"/>
                  </a:lnTo>
                  <a:lnTo>
                    <a:pt x="5303" y="205433"/>
                  </a:lnTo>
                  <a:lnTo>
                    <a:pt x="5303" y="62244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9E74B3B-AE25-40B0-A188-C80E862C7419}"/>
                </a:ext>
              </a:extLst>
            </p:cNvPr>
            <p:cNvSpPr/>
            <p:nvPr/>
          </p:nvSpPr>
          <p:spPr>
            <a:xfrm>
              <a:off x="1499574" y="1127006"/>
              <a:ext cx="81503" cy="85969"/>
            </a:xfrm>
            <a:custGeom>
              <a:avLst/>
              <a:gdLst>
                <a:gd name="connsiteX0" fmla="*/ 40752 w 81503"/>
                <a:gd name="connsiteY0" fmla="*/ 72572 h 85969"/>
                <a:gd name="connsiteX1" fmla="*/ 63919 w 81503"/>
                <a:gd name="connsiteY1" fmla="*/ 42426 h 85969"/>
                <a:gd name="connsiteX2" fmla="*/ 40752 w 81503"/>
                <a:gd name="connsiteY2" fmla="*/ 12840 h 85969"/>
                <a:gd name="connsiteX3" fmla="*/ 17585 w 81503"/>
                <a:gd name="connsiteY3" fmla="*/ 42426 h 85969"/>
                <a:gd name="connsiteX4" fmla="*/ 40752 w 81503"/>
                <a:gd name="connsiteY4" fmla="*/ 72572 h 85969"/>
                <a:gd name="connsiteX5" fmla="*/ 40752 w 81503"/>
                <a:gd name="connsiteY5" fmla="*/ 0 h 85969"/>
                <a:gd name="connsiteX6" fmla="*/ 81503 w 81503"/>
                <a:gd name="connsiteY6" fmla="*/ 42706 h 85969"/>
                <a:gd name="connsiteX7" fmla="*/ 40752 w 81503"/>
                <a:gd name="connsiteY7" fmla="*/ 85969 h 85969"/>
                <a:gd name="connsiteX8" fmla="*/ 0 w 81503"/>
                <a:gd name="connsiteY8" fmla="*/ 42706 h 85969"/>
                <a:gd name="connsiteX9" fmla="*/ 40752 w 81503"/>
                <a:gd name="connsiteY9" fmla="*/ 0 h 8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03" h="85969">
                  <a:moveTo>
                    <a:pt x="40752" y="72572"/>
                  </a:moveTo>
                  <a:cubicBezTo>
                    <a:pt x="57778" y="72572"/>
                    <a:pt x="63919" y="57499"/>
                    <a:pt x="63919" y="42426"/>
                  </a:cubicBezTo>
                  <a:cubicBezTo>
                    <a:pt x="63919" y="27912"/>
                    <a:pt x="57220" y="12840"/>
                    <a:pt x="40752" y="12840"/>
                  </a:cubicBezTo>
                  <a:cubicBezTo>
                    <a:pt x="24284" y="12840"/>
                    <a:pt x="17585" y="27912"/>
                    <a:pt x="17585" y="42426"/>
                  </a:cubicBezTo>
                  <a:cubicBezTo>
                    <a:pt x="17305" y="57499"/>
                    <a:pt x="23725" y="72572"/>
                    <a:pt x="40752" y="72572"/>
                  </a:cubicBezTo>
                  <a:moveTo>
                    <a:pt x="40752" y="0"/>
                  </a:moveTo>
                  <a:cubicBezTo>
                    <a:pt x="66710" y="0"/>
                    <a:pt x="81503" y="17585"/>
                    <a:pt x="81503" y="42706"/>
                  </a:cubicBezTo>
                  <a:cubicBezTo>
                    <a:pt x="81503" y="67827"/>
                    <a:pt x="66989" y="85969"/>
                    <a:pt x="40752" y="85969"/>
                  </a:cubicBezTo>
                  <a:cubicBezTo>
                    <a:pt x="14235" y="85969"/>
                    <a:pt x="0" y="68385"/>
                    <a:pt x="0" y="42706"/>
                  </a:cubicBezTo>
                  <a:cubicBezTo>
                    <a:pt x="0" y="17026"/>
                    <a:pt x="14235" y="0"/>
                    <a:pt x="40752" y="0"/>
                  </a:cubicBez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2A4A2F9-5346-4276-BD41-A04287EE36EA}"/>
                </a:ext>
              </a:extLst>
            </p:cNvPr>
            <p:cNvSpPr/>
            <p:nvPr/>
          </p:nvSpPr>
          <p:spPr>
            <a:xfrm>
              <a:off x="1591126" y="1127006"/>
              <a:ext cx="54707" cy="84573"/>
            </a:xfrm>
            <a:custGeom>
              <a:avLst/>
              <a:gdLst>
                <a:gd name="connsiteX0" fmla="*/ 0 w 54707"/>
                <a:gd name="connsiteY0" fmla="*/ 84295 h 84573"/>
                <a:gd name="connsiteX1" fmla="*/ 0 w 54707"/>
                <a:gd name="connsiteY1" fmla="*/ 70339 h 84573"/>
                <a:gd name="connsiteX2" fmla="*/ 36007 w 54707"/>
                <a:gd name="connsiteY2" fmla="*/ 24004 h 84573"/>
                <a:gd name="connsiteX3" fmla="*/ 22330 w 54707"/>
                <a:gd name="connsiteY3" fmla="*/ 12840 h 84573"/>
                <a:gd name="connsiteX4" fmla="*/ 3070 w 54707"/>
                <a:gd name="connsiteY4" fmla="*/ 19539 h 84573"/>
                <a:gd name="connsiteX5" fmla="*/ 1675 w 54707"/>
                <a:gd name="connsiteY5" fmla="*/ 5862 h 84573"/>
                <a:gd name="connsiteX6" fmla="*/ 26237 w 54707"/>
                <a:gd name="connsiteY6" fmla="*/ 0 h 84573"/>
                <a:gd name="connsiteX7" fmla="*/ 52196 w 54707"/>
                <a:gd name="connsiteY7" fmla="*/ 24284 h 84573"/>
                <a:gd name="connsiteX8" fmla="*/ 20934 w 54707"/>
                <a:gd name="connsiteY8" fmla="*/ 71455 h 84573"/>
                <a:gd name="connsiteX9" fmla="*/ 54708 w 54707"/>
                <a:gd name="connsiteY9" fmla="*/ 71455 h 84573"/>
                <a:gd name="connsiteX10" fmla="*/ 54708 w 54707"/>
                <a:gd name="connsiteY10" fmla="*/ 84574 h 84573"/>
                <a:gd name="connsiteX11" fmla="*/ 0 w 54707"/>
                <a:gd name="connsiteY11" fmla="*/ 84574 h 84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707" h="84573">
                  <a:moveTo>
                    <a:pt x="0" y="84295"/>
                  </a:moveTo>
                  <a:lnTo>
                    <a:pt x="0" y="70339"/>
                  </a:lnTo>
                  <a:cubicBezTo>
                    <a:pt x="7815" y="62802"/>
                    <a:pt x="36007" y="39356"/>
                    <a:pt x="36007" y="24004"/>
                  </a:cubicBezTo>
                  <a:cubicBezTo>
                    <a:pt x="36007" y="16468"/>
                    <a:pt x="29308" y="12840"/>
                    <a:pt x="22330" y="12840"/>
                  </a:cubicBezTo>
                  <a:cubicBezTo>
                    <a:pt x="15352" y="12840"/>
                    <a:pt x="8653" y="15910"/>
                    <a:pt x="3070" y="19539"/>
                  </a:cubicBezTo>
                  <a:lnTo>
                    <a:pt x="1675" y="5862"/>
                  </a:lnTo>
                  <a:cubicBezTo>
                    <a:pt x="9211" y="1954"/>
                    <a:pt x="17864" y="0"/>
                    <a:pt x="26237" y="0"/>
                  </a:cubicBezTo>
                  <a:cubicBezTo>
                    <a:pt x="42147" y="0"/>
                    <a:pt x="52196" y="8095"/>
                    <a:pt x="52196" y="24284"/>
                  </a:cubicBezTo>
                  <a:cubicBezTo>
                    <a:pt x="52196" y="41868"/>
                    <a:pt x="34611" y="58057"/>
                    <a:pt x="20934" y="71455"/>
                  </a:cubicBezTo>
                  <a:lnTo>
                    <a:pt x="54708" y="71455"/>
                  </a:lnTo>
                  <a:lnTo>
                    <a:pt x="54708" y="84574"/>
                  </a:lnTo>
                  <a:lnTo>
                    <a:pt x="0" y="84574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3D48CB7-5952-4219-893F-3A8AA489F472}"/>
                </a:ext>
              </a:extLst>
            </p:cNvPr>
            <p:cNvSpPr/>
            <p:nvPr/>
          </p:nvSpPr>
          <p:spPr>
            <a:xfrm>
              <a:off x="1691051" y="1126726"/>
              <a:ext cx="64476" cy="85969"/>
            </a:xfrm>
            <a:custGeom>
              <a:avLst/>
              <a:gdLst>
                <a:gd name="connsiteX0" fmla="*/ 64477 w 64476"/>
                <a:gd name="connsiteY0" fmla="*/ 83457 h 85969"/>
                <a:gd name="connsiteX1" fmla="*/ 45497 w 64476"/>
                <a:gd name="connsiteY1" fmla="*/ 85969 h 85969"/>
                <a:gd name="connsiteX2" fmla="*/ 0 w 64476"/>
                <a:gd name="connsiteY2" fmla="*/ 44380 h 85969"/>
                <a:gd name="connsiteX3" fmla="*/ 45497 w 64476"/>
                <a:gd name="connsiteY3" fmla="*/ 0 h 85969"/>
                <a:gd name="connsiteX4" fmla="*/ 64198 w 64476"/>
                <a:gd name="connsiteY4" fmla="*/ 3349 h 85969"/>
                <a:gd name="connsiteX5" fmla="*/ 63081 w 64476"/>
                <a:gd name="connsiteY5" fmla="*/ 17306 h 85969"/>
                <a:gd name="connsiteX6" fmla="*/ 45218 w 64476"/>
                <a:gd name="connsiteY6" fmla="*/ 12840 h 85969"/>
                <a:gd name="connsiteX7" fmla="*/ 17305 w 64476"/>
                <a:gd name="connsiteY7" fmla="*/ 42985 h 85969"/>
                <a:gd name="connsiteX8" fmla="*/ 45497 w 64476"/>
                <a:gd name="connsiteY8" fmla="*/ 72572 h 85969"/>
                <a:gd name="connsiteX9" fmla="*/ 63640 w 64476"/>
                <a:gd name="connsiteY9" fmla="*/ 69222 h 85969"/>
                <a:gd name="connsiteX10" fmla="*/ 64477 w 64476"/>
                <a:gd name="connsiteY10" fmla="*/ 83457 h 8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4476" h="85969">
                  <a:moveTo>
                    <a:pt x="64477" y="83457"/>
                  </a:moveTo>
                  <a:cubicBezTo>
                    <a:pt x="58336" y="84853"/>
                    <a:pt x="51917" y="85969"/>
                    <a:pt x="45497" y="85969"/>
                  </a:cubicBezTo>
                  <a:cubicBezTo>
                    <a:pt x="18701" y="85969"/>
                    <a:pt x="0" y="72572"/>
                    <a:pt x="0" y="44380"/>
                  </a:cubicBezTo>
                  <a:cubicBezTo>
                    <a:pt x="0" y="15910"/>
                    <a:pt x="17305" y="0"/>
                    <a:pt x="45497" y="0"/>
                  </a:cubicBezTo>
                  <a:cubicBezTo>
                    <a:pt x="51079" y="0"/>
                    <a:pt x="58336" y="1116"/>
                    <a:pt x="64198" y="3349"/>
                  </a:cubicBezTo>
                  <a:lnTo>
                    <a:pt x="63081" y="17306"/>
                  </a:lnTo>
                  <a:cubicBezTo>
                    <a:pt x="56662" y="13677"/>
                    <a:pt x="51079" y="12840"/>
                    <a:pt x="45218" y="12840"/>
                  </a:cubicBezTo>
                  <a:cubicBezTo>
                    <a:pt x="28191" y="12840"/>
                    <a:pt x="17305" y="25958"/>
                    <a:pt x="17305" y="42985"/>
                  </a:cubicBezTo>
                  <a:cubicBezTo>
                    <a:pt x="17305" y="59732"/>
                    <a:pt x="27633" y="72572"/>
                    <a:pt x="45497" y="72572"/>
                  </a:cubicBezTo>
                  <a:cubicBezTo>
                    <a:pt x="51917" y="72572"/>
                    <a:pt x="59732" y="71176"/>
                    <a:pt x="63640" y="69222"/>
                  </a:cubicBezTo>
                  <a:lnTo>
                    <a:pt x="64477" y="83457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B50C275-380E-4200-927C-896DBAD815D3}"/>
                </a:ext>
              </a:extLst>
            </p:cNvPr>
            <p:cNvSpPr/>
            <p:nvPr/>
          </p:nvSpPr>
          <p:spPr>
            <a:xfrm>
              <a:off x="1762227" y="1150173"/>
              <a:ext cx="51079" cy="61127"/>
            </a:xfrm>
            <a:custGeom>
              <a:avLst/>
              <a:gdLst>
                <a:gd name="connsiteX0" fmla="*/ 1396 w 51079"/>
                <a:gd name="connsiteY0" fmla="*/ 0 h 61127"/>
                <a:gd name="connsiteX1" fmla="*/ 49963 w 51079"/>
                <a:gd name="connsiteY1" fmla="*/ 0 h 61127"/>
                <a:gd name="connsiteX2" fmla="*/ 49963 w 51079"/>
                <a:gd name="connsiteY2" fmla="*/ 12840 h 61127"/>
                <a:gd name="connsiteX3" fmla="*/ 19539 w 51079"/>
                <a:gd name="connsiteY3" fmla="*/ 48846 h 61127"/>
                <a:gd name="connsiteX4" fmla="*/ 51079 w 51079"/>
                <a:gd name="connsiteY4" fmla="*/ 48846 h 61127"/>
                <a:gd name="connsiteX5" fmla="*/ 51079 w 51079"/>
                <a:gd name="connsiteY5" fmla="*/ 61128 h 61127"/>
                <a:gd name="connsiteX6" fmla="*/ 0 w 51079"/>
                <a:gd name="connsiteY6" fmla="*/ 61128 h 61127"/>
                <a:gd name="connsiteX7" fmla="*/ 0 w 51079"/>
                <a:gd name="connsiteY7" fmla="*/ 48288 h 61127"/>
                <a:gd name="connsiteX8" fmla="*/ 30982 w 51079"/>
                <a:gd name="connsiteY8" fmla="*/ 12281 h 61127"/>
                <a:gd name="connsiteX9" fmla="*/ 1396 w 51079"/>
                <a:gd name="connsiteY9" fmla="*/ 12281 h 61127"/>
                <a:gd name="connsiteX10" fmla="*/ 1396 w 51079"/>
                <a:gd name="connsiteY10" fmla="*/ 0 h 6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079" h="61127">
                  <a:moveTo>
                    <a:pt x="1396" y="0"/>
                  </a:moveTo>
                  <a:lnTo>
                    <a:pt x="49963" y="0"/>
                  </a:lnTo>
                  <a:lnTo>
                    <a:pt x="49963" y="12840"/>
                  </a:lnTo>
                  <a:lnTo>
                    <a:pt x="19539" y="48846"/>
                  </a:lnTo>
                  <a:lnTo>
                    <a:pt x="51079" y="48846"/>
                  </a:lnTo>
                  <a:lnTo>
                    <a:pt x="51079" y="61128"/>
                  </a:lnTo>
                  <a:lnTo>
                    <a:pt x="0" y="61128"/>
                  </a:lnTo>
                  <a:lnTo>
                    <a:pt x="0" y="48288"/>
                  </a:lnTo>
                  <a:lnTo>
                    <a:pt x="30982" y="12281"/>
                  </a:lnTo>
                  <a:lnTo>
                    <a:pt x="1396" y="12281"/>
                  </a:lnTo>
                  <a:lnTo>
                    <a:pt x="1396" y="0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3EE68AD6-A544-4FC8-956A-EB31CD892EA0}"/>
                </a:ext>
              </a:extLst>
            </p:cNvPr>
            <p:cNvSpPr/>
            <p:nvPr/>
          </p:nvSpPr>
          <p:spPr>
            <a:xfrm>
              <a:off x="1821680" y="1148498"/>
              <a:ext cx="57499" cy="64197"/>
            </a:xfrm>
            <a:custGeom>
              <a:avLst/>
              <a:gdLst>
                <a:gd name="connsiteX0" fmla="*/ 42426 w 57499"/>
                <a:gd name="connsiteY0" fmla="*/ 26237 h 64197"/>
                <a:gd name="connsiteX1" fmla="*/ 29587 w 57499"/>
                <a:gd name="connsiteY1" fmla="*/ 12002 h 64197"/>
                <a:gd name="connsiteX2" fmla="*/ 15352 w 57499"/>
                <a:gd name="connsiteY2" fmla="*/ 26237 h 64197"/>
                <a:gd name="connsiteX3" fmla="*/ 42426 w 57499"/>
                <a:gd name="connsiteY3" fmla="*/ 26237 h 64197"/>
                <a:gd name="connsiteX4" fmla="*/ 53033 w 57499"/>
                <a:gd name="connsiteY4" fmla="*/ 59453 h 64197"/>
                <a:gd name="connsiteX5" fmla="*/ 32099 w 57499"/>
                <a:gd name="connsiteY5" fmla="*/ 64198 h 64197"/>
                <a:gd name="connsiteX6" fmla="*/ 0 w 57499"/>
                <a:gd name="connsiteY6" fmla="*/ 32378 h 64197"/>
                <a:gd name="connsiteX7" fmla="*/ 28470 w 57499"/>
                <a:gd name="connsiteY7" fmla="*/ 0 h 64197"/>
                <a:gd name="connsiteX8" fmla="*/ 57499 w 57499"/>
                <a:gd name="connsiteY8" fmla="*/ 36844 h 64197"/>
                <a:gd name="connsiteX9" fmla="*/ 15073 w 57499"/>
                <a:gd name="connsiteY9" fmla="*/ 36844 h 64197"/>
                <a:gd name="connsiteX10" fmla="*/ 32657 w 57499"/>
                <a:gd name="connsiteY10" fmla="*/ 52196 h 64197"/>
                <a:gd name="connsiteX11" fmla="*/ 53033 w 57499"/>
                <a:gd name="connsiteY11" fmla="*/ 46055 h 64197"/>
                <a:gd name="connsiteX12" fmla="*/ 53033 w 57499"/>
                <a:gd name="connsiteY12" fmla="*/ 5945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499" h="64197">
                  <a:moveTo>
                    <a:pt x="42426" y="26237"/>
                  </a:moveTo>
                  <a:cubicBezTo>
                    <a:pt x="41868" y="18422"/>
                    <a:pt x="38240" y="12002"/>
                    <a:pt x="29587" y="12002"/>
                  </a:cubicBezTo>
                  <a:cubicBezTo>
                    <a:pt x="20655" y="12002"/>
                    <a:pt x="16189" y="18143"/>
                    <a:pt x="15352" y="26237"/>
                  </a:cubicBezTo>
                  <a:lnTo>
                    <a:pt x="42426" y="26237"/>
                  </a:lnTo>
                  <a:moveTo>
                    <a:pt x="53033" y="59453"/>
                  </a:moveTo>
                  <a:cubicBezTo>
                    <a:pt x="47172" y="62802"/>
                    <a:pt x="40473" y="64198"/>
                    <a:pt x="32099" y="64198"/>
                  </a:cubicBezTo>
                  <a:cubicBezTo>
                    <a:pt x="12002" y="64198"/>
                    <a:pt x="0" y="52475"/>
                    <a:pt x="0" y="32378"/>
                  </a:cubicBezTo>
                  <a:cubicBezTo>
                    <a:pt x="0" y="14793"/>
                    <a:pt x="9490" y="0"/>
                    <a:pt x="28470" y="0"/>
                  </a:cubicBezTo>
                  <a:cubicBezTo>
                    <a:pt x="51079" y="0"/>
                    <a:pt x="57499" y="15631"/>
                    <a:pt x="57499" y="36844"/>
                  </a:cubicBezTo>
                  <a:lnTo>
                    <a:pt x="15073" y="36844"/>
                  </a:lnTo>
                  <a:cubicBezTo>
                    <a:pt x="15910" y="46613"/>
                    <a:pt x="22609" y="52196"/>
                    <a:pt x="32657" y="52196"/>
                  </a:cubicBezTo>
                  <a:cubicBezTo>
                    <a:pt x="40473" y="52196"/>
                    <a:pt x="47172" y="49405"/>
                    <a:pt x="53033" y="46055"/>
                  </a:cubicBezTo>
                  <a:lnTo>
                    <a:pt x="53033" y="59453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7870999-7B09-4EB2-921F-91828A07EF2C}"/>
                </a:ext>
              </a:extLst>
            </p:cNvPr>
            <p:cNvSpPr/>
            <p:nvPr/>
          </p:nvSpPr>
          <p:spPr>
            <a:xfrm>
              <a:off x="1887832" y="1148498"/>
              <a:ext cx="46055" cy="64197"/>
            </a:xfrm>
            <a:custGeom>
              <a:avLst/>
              <a:gdLst>
                <a:gd name="connsiteX0" fmla="*/ 43543 w 46055"/>
                <a:gd name="connsiteY0" fmla="*/ 14793 h 64197"/>
                <a:gd name="connsiteX1" fmla="*/ 32657 w 46055"/>
                <a:gd name="connsiteY1" fmla="*/ 12560 h 64197"/>
                <a:gd name="connsiteX2" fmla="*/ 16468 w 46055"/>
                <a:gd name="connsiteY2" fmla="*/ 31820 h 64197"/>
                <a:gd name="connsiteX3" fmla="*/ 32936 w 46055"/>
                <a:gd name="connsiteY3" fmla="*/ 51917 h 64197"/>
                <a:gd name="connsiteX4" fmla="*/ 45218 w 46055"/>
                <a:gd name="connsiteY4" fmla="*/ 49125 h 64197"/>
                <a:gd name="connsiteX5" fmla="*/ 46055 w 46055"/>
                <a:gd name="connsiteY5" fmla="*/ 62244 h 64197"/>
                <a:gd name="connsiteX6" fmla="*/ 30145 w 46055"/>
                <a:gd name="connsiteY6" fmla="*/ 64198 h 64197"/>
                <a:gd name="connsiteX7" fmla="*/ 0 w 46055"/>
                <a:gd name="connsiteY7" fmla="*/ 31820 h 64197"/>
                <a:gd name="connsiteX8" fmla="*/ 29587 w 46055"/>
                <a:gd name="connsiteY8" fmla="*/ 0 h 64197"/>
                <a:gd name="connsiteX9" fmla="*/ 44938 w 46055"/>
                <a:gd name="connsiteY9" fmla="*/ 1954 h 64197"/>
                <a:gd name="connsiteX10" fmla="*/ 43543 w 46055"/>
                <a:gd name="connsiteY10" fmla="*/ 1479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55" h="64197">
                  <a:moveTo>
                    <a:pt x="43543" y="14793"/>
                  </a:moveTo>
                  <a:cubicBezTo>
                    <a:pt x="40752" y="13398"/>
                    <a:pt x="37681" y="12560"/>
                    <a:pt x="32657" y="12560"/>
                  </a:cubicBezTo>
                  <a:cubicBezTo>
                    <a:pt x="22888" y="12560"/>
                    <a:pt x="16468" y="20376"/>
                    <a:pt x="16468" y="31820"/>
                  </a:cubicBezTo>
                  <a:cubicBezTo>
                    <a:pt x="16468" y="43264"/>
                    <a:pt x="21771" y="51917"/>
                    <a:pt x="32936" y="51917"/>
                  </a:cubicBezTo>
                  <a:cubicBezTo>
                    <a:pt x="37402" y="51917"/>
                    <a:pt x="42426" y="50242"/>
                    <a:pt x="45218" y="49125"/>
                  </a:cubicBezTo>
                  <a:lnTo>
                    <a:pt x="46055" y="62244"/>
                  </a:lnTo>
                  <a:cubicBezTo>
                    <a:pt x="41310" y="63640"/>
                    <a:pt x="36565" y="64198"/>
                    <a:pt x="30145" y="64198"/>
                  </a:cubicBezTo>
                  <a:cubicBezTo>
                    <a:pt x="10048" y="64198"/>
                    <a:pt x="0" y="50521"/>
                    <a:pt x="0" y="31820"/>
                  </a:cubicBezTo>
                  <a:cubicBezTo>
                    <a:pt x="0" y="14235"/>
                    <a:pt x="10327" y="0"/>
                    <a:pt x="29587" y="0"/>
                  </a:cubicBezTo>
                  <a:cubicBezTo>
                    <a:pt x="36007" y="0"/>
                    <a:pt x="40752" y="837"/>
                    <a:pt x="44938" y="1954"/>
                  </a:cubicBezTo>
                  <a:lnTo>
                    <a:pt x="43543" y="14793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6A2519B-9CE9-4265-8E70-F1451A0312B0}"/>
                </a:ext>
              </a:extLst>
            </p:cNvPr>
            <p:cNvSpPr/>
            <p:nvPr/>
          </p:nvSpPr>
          <p:spPr>
            <a:xfrm>
              <a:off x="1944493" y="1122261"/>
              <a:ext cx="56382" cy="89039"/>
            </a:xfrm>
            <a:custGeom>
              <a:avLst/>
              <a:gdLst>
                <a:gd name="connsiteX0" fmla="*/ 0 w 56382"/>
                <a:gd name="connsiteY0" fmla="*/ 0 h 89039"/>
                <a:gd name="connsiteX1" fmla="*/ 15910 w 56382"/>
                <a:gd name="connsiteY1" fmla="*/ 0 h 89039"/>
                <a:gd name="connsiteX2" fmla="*/ 15910 w 56382"/>
                <a:gd name="connsiteY2" fmla="*/ 36286 h 89039"/>
                <a:gd name="connsiteX3" fmla="*/ 16189 w 56382"/>
                <a:gd name="connsiteY3" fmla="*/ 36286 h 89039"/>
                <a:gd name="connsiteX4" fmla="*/ 35448 w 56382"/>
                <a:gd name="connsiteY4" fmla="*/ 26517 h 89039"/>
                <a:gd name="connsiteX5" fmla="*/ 56383 w 56382"/>
                <a:gd name="connsiteY5" fmla="*/ 50521 h 89039"/>
                <a:gd name="connsiteX6" fmla="*/ 56383 w 56382"/>
                <a:gd name="connsiteY6" fmla="*/ 89040 h 89039"/>
                <a:gd name="connsiteX7" fmla="*/ 40473 w 56382"/>
                <a:gd name="connsiteY7" fmla="*/ 89040 h 89039"/>
                <a:gd name="connsiteX8" fmla="*/ 40473 w 56382"/>
                <a:gd name="connsiteY8" fmla="*/ 56383 h 89039"/>
                <a:gd name="connsiteX9" fmla="*/ 30145 w 56382"/>
                <a:gd name="connsiteY9" fmla="*/ 38798 h 89039"/>
                <a:gd name="connsiteX10" fmla="*/ 16189 w 56382"/>
                <a:gd name="connsiteY10" fmla="*/ 59174 h 89039"/>
                <a:gd name="connsiteX11" fmla="*/ 16189 w 56382"/>
                <a:gd name="connsiteY11" fmla="*/ 89040 h 89039"/>
                <a:gd name="connsiteX12" fmla="*/ 0 w 56382"/>
                <a:gd name="connsiteY12" fmla="*/ 89040 h 89039"/>
                <a:gd name="connsiteX13" fmla="*/ 0 w 56382"/>
                <a:gd name="connsiteY13" fmla="*/ 0 h 8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382" h="89039">
                  <a:moveTo>
                    <a:pt x="0" y="0"/>
                  </a:moveTo>
                  <a:lnTo>
                    <a:pt x="15910" y="0"/>
                  </a:lnTo>
                  <a:lnTo>
                    <a:pt x="15910" y="36286"/>
                  </a:lnTo>
                  <a:lnTo>
                    <a:pt x="16189" y="36286"/>
                  </a:lnTo>
                  <a:cubicBezTo>
                    <a:pt x="20097" y="30424"/>
                    <a:pt x="27075" y="26517"/>
                    <a:pt x="35448" y="26517"/>
                  </a:cubicBezTo>
                  <a:cubicBezTo>
                    <a:pt x="49963" y="26517"/>
                    <a:pt x="56383" y="36844"/>
                    <a:pt x="56383" y="50521"/>
                  </a:cubicBezTo>
                  <a:lnTo>
                    <a:pt x="56383" y="89040"/>
                  </a:lnTo>
                  <a:lnTo>
                    <a:pt x="40473" y="89040"/>
                  </a:lnTo>
                  <a:lnTo>
                    <a:pt x="40473" y="56383"/>
                  </a:lnTo>
                  <a:cubicBezTo>
                    <a:pt x="40473" y="48846"/>
                    <a:pt x="40473" y="38798"/>
                    <a:pt x="30145" y="38798"/>
                  </a:cubicBezTo>
                  <a:cubicBezTo>
                    <a:pt x="18701" y="38798"/>
                    <a:pt x="16189" y="51358"/>
                    <a:pt x="16189" y="59174"/>
                  </a:cubicBezTo>
                  <a:lnTo>
                    <a:pt x="16189" y="89040"/>
                  </a:lnTo>
                  <a:lnTo>
                    <a:pt x="0" y="8904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04B2793-C586-4182-B570-7755DAFD58B3}"/>
                </a:ext>
              </a:extLst>
            </p:cNvPr>
            <p:cNvSpPr/>
            <p:nvPr/>
          </p:nvSpPr>
          <p:spPr>
            <a:xfrm>
              <a:off x="2050001" y="1128400"/>
              <a:ext cx="62244" cy="82900"/>
            </a:xfrm>
            <a:custGeom>
              <a:avLst/>
              <a:gdLst>
                <a:gd name="connsiteX0" fmla="*/ 16747 w 62244"/>
                <a:gd name="connsiteY0" fmla="*/ 35450 h 82900"/>
                <a:gd name="connsiteX1" fmla="*/ 22330 w 62244"/>
                <a:gd name="connsiteY1" fmla="*/ 35450 h 82900"/>
                <a:gd name="connsiteX2" fmla="*/ 39914 w 62244"/>
                <a:gd name="connsiteY2" fmla="*/ 24006 h 82900"/>
                <a:gd name="connsiteX3" fmla="*/ 22330 w 62244"/>
                <a:gd name="connsiteY3" fmla="*/ 13120 h 82900"/>
                <a:gd name="connsiteX4" fmla="*/ 16747 w 62244"/>
                <a:gd name="connsiteY4" fmla="*/ 13120 h 82900"/>
                <a:gd name="connsiteX5" fmla="*/ 16747 w 62244"/>
                <a:gd name="connsiteY5" fmla="*/ 35450 h 82900"/>
                <a:gd name="connsiteX6" fmla="*/ 0 w 62244"/>
                <a:gd name="connsiteY6" fmla="*/ 1 h 82900"/>
                <a:gd name="connsiteX7" fmla="*/ 17864 w 62244"/>
                <a:gd name="connsiteY7" fmla="*/ 1 h 82900"/>
                <a:gd name="connsiteX8" fmla="*/ 56941 w 62244"/>
                <a:gd name="connsiteY8" fmla="*/ 22331 h 82900"/>
                <a:gd name="connsiteX9" fmla="*/ 39914 w 62244"/>
                <a:gd name="connsiteY9" fmla="*/ 41590 h 82900"/>
                <a:gd name="connsiteX10" fmla="*/ 39914 w 62244"/>
                <a:gd name="connsiteY10" fmla="*/ 41869 h 82900"/>
                <a:gd name="connsiteX11" fmla="*/ 48846 w 62244"/>
                <a:gd name="connsiteY11" fmla="*/ 50522 h 82900"/>
                <a:gd name="connsiteX12" fmla="*/ 62244 w 62244"/>
                <a:gd name="connsiteY12" fmla="*/ 82900 h 82900"/>
                <a:gd name="connsiteX13" fmla="*/ 43822 w 62244"/>
                <a:gd name="connsiteY13" fmla="*/ 82900 h 82900"/>
                <a:gd name="connsiteX14" fmla="*/ 33774 w 62244"/>
                <a:gd name="connsiteY14" fmla="*/ 56942 h 82900"/>
                <a:gd name="connsiteX15" fmla="*/ 22330 w 62244"/>
                <a:gd name="connsiteY15" fmla="*/ 48289 h 82900"/>
                <a:gd name="connsiteX16" fmla="*/ 17027 w 62244"/>
                <a:gd name="connsiteY16" fmla="*/ 48289 h 82900"/>
                <a:gd name="connsiteX17" fmla="*/ 17027 w 62244"/>
                <a:gd name="connsiteY17" fmla="*/ 82900 h 82900"/>
                <a:gd name="connsiteX18" fmla="*/ 279 w 62244"/>
                <a:gd name="connsiteY18" fmla="*/ 82900 h 82900"/>
                <a:gd name="connsiteX19" fmla="*/ 279 w 62244"/>
                <a:gd name="connsiteY19" fmla="*/ 1 h 8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2244" h="82900">
                  <a:moveTo>
                    <a:pt x="16747" y="35450"/>
                  </a:moveTo>
                  <a:lnTo>
                    <a:pt x="22330" y="35450"/>
                  </a:lnTo>
                  <a:cubicBezTo>
                    <a:pt x="30424" y="35450"/>
                    <a:pt x="39914" y="34333"/>
                    <a:pt x="39914" y="24006"/>
                  </a:cubicBezTo>
                  <a:cubicBezTo>
                    <a:pt x="39914" y="13957"/>
                    <a:pt x="30703" y="13120"/>
                    <a:pt x="22330" y="13120"/>
                  </a:cubicBezTo>
                  <a:lnTo>
                    <a:pt x="16747" y="13120"/>
                  </a:lnTo>
                  <a:lnTo>
                    <a:pt x="16747" y="35450"/>
                  </a:lnTo>
                  <a:moveTo>
                    <a:pt x="0" y="1"/>
                  </a:moveTo>
                  <a:lnTo>
                    <a:pt x="17864" y="1"/>
                  </a:lnTo>
                  <a:cubicBezTo>
                    <a:pt x="35728" y="1"/>
                    <a:pt x="56941" y="-557"/>
                    <a:pt x="56941" y="22331"/>
                  </a:cubicBezTo>
                  <a:cubicBezTo>
                    <a:pt x="56941" y="32100"/>
                    <a:pt x="50521" y="40195"/>
                    <a:pt x="39914" y="41590"/>
                  </a:cubicBezTo>
                  <a:lnTo>
                    <a:pt x="39914" y="41869"/>
                  </a:lnTo>
                  <a:cubicBezTo>
                    <a:pt x="44380" y="42149"/>
                    <a:pt x="47172" y="46615"/>
                    <a:pt x="48846" y="50522"/>
                  </a:cubicBezTo>
                  <a:lnTo>
                    <a:pt x="62244" y="82900"/>
                  </a:lnTo>
                  <a:lnTo>
                    <a:pt x="43822" y="82900"/>
                  </a:lnTo>
                  <a:lnTo>
                    <a:pt x="33774" y="56942"/>
                  </a:lnTo>
                  <a:cubicBezTo>
                    <a:pt x="31262" y="50801"/>
                    <a:pt x="29308" y="48289"/>
                    <a:pt x="22330" y="48289"/>
                  </a:cubicBezTo>
                  <a:lnTo>
                    <a:pt x="17027" y="48289"/>
                  </a:lnTo>
                  <a:lnTo>
                    <a:pt x="17027" y="82900"/>
                  </a:lnTo>
                  <a:lnTo>
                    <a:pt x="279" y="82900"/>
                  </a:lnTo>
                  <a:lnTo>
                    <a:pt x="279" y="1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8017E43-CB60-4EEA-A60D-64AB59D457E2}"/>
                </a:ext>
              </a:extLst>
            </p:cNvPr>
            <p:cNvSpPr/>
            <p:nvPr/>
          </p:nvSpPr>
          <p:spPr>
            <a:xfrm>
              <a:off x="2118665" y="1148498"/>
              <a:ext cx="57498" cy="64197"/>
            </a:xfrm>
            <a:custGeom>
              <a:avLst/>
              <a:gdLst>
                <a:gd name="connsiteX0" fmla="*/ 42147 w 57498"/>
                <a:gd name="connsiteY0" fmla="*/ 26237 h 64197"/>
                <a:gd name="connsiteX1" fmla="*/ 29308 w 57498"/>
                <a:gd name="connsiteY1" fmla="*/ 12002 h 64197"/>
                <a:gd name="connsiteX2" fmla="*/ 15072 w 57498"/>
                <a:gd name="connsiteY2" fmla="*/ 26237 h 64197"/>
                <a:gd name="connsiteX3" fmla="*/ 42147 w 57498"/>
                <a:gd name="connsiteY3" fmla="*/ 26237 h 64197"/>
                <a:gd name="connsiteX4" fmla="*/ 53033 w 57498"/>
                <a:gd name="connsiteY4" fmla="*/ 59453 h 64197"/>
                <a:gd name="connsiteX5" fmla="*/ 32099 w 57498"/>
                <a:gd name="connsiteY5" fmla="*/ 64198 h 64197"/>
                <a:gd name="connsiteX6" fmla="*/ 0 w 57498"/>
                <a:gd name="connsiteY6" fmla="*/ 32378 h 64197"/>
                <a:gd name="connsiteX7" fmla="*/ 28470 w 57498"/>
                <a:gd name="connsiteY7" fmla="*/ 0 h 64197"/>
                <a:gd name="connsiteX8" fmla="*/ 57499 w 57498"/>
                <a:gd name="connsiteY8" fmla="*/ 36844 h 64197"/>
                <a:gd name="connsiteX9" fmla="*/ 15072 w 57498"/>
                <a:gd name="connsiteY9" fmla="*/ 36844 h 64197"/>
                <a:gd name="connsiteX10" fmla="*/ 32657 w 57498"/>
                <a:gd name="connsiteY10" fmla="*/ 52196 h 64197"/>
                <a:gd name="connsiteX11" fmla="*/ 53033 w 57498"/>
                <a:gd name="connsiteY11" fmla="*/ 46055 h 64197"/>
                <a:gd name="connsiteX12" fmla="*/ 53033 w 57498"/>
                <a:gd name="connsiteY12" fmla="*/ 5945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498" h="64197">
                  <a:moveTo>
                    <a:pt x="42147" y="26237"/>
                  </a:moveTo>
                  <a:cubicBezTo>
                    <a:pt x="41589" y="18422"/>
                    <a:pt x="37960" y="12002"/>
                    <a:pt x="29308" y="12002"/>
                  </a:cubicBezTo>
                  <a:cubicBezTo>
                    <a:pt x="20376" y="12002"/>
                    <a:pt x="15910" y="18143"/>
                    <a:pt x="15072" y="26237"/>
                  </a:cubicBezTo>
                  <a:lnTo>
                    <a:pt x="42147" y="26237"/>
                  </a:lnTo>
                  <a:moveTo>
                    <a:pt x="53033" y="59453"/>
                  </a:moveTo>
                  <a:cubicBezTo>
                    <a:pt x="47171" y="62802"/>
                    <a:pt x="40473" y="64198"/>
                    <a:pt x="32099" y="64198"/>
                  </a:cubicBezTo>
                  <a:cubicBezTo>
                    <a:pt x="12002" y="64198"/>
                    <a:pt x="0" y="52475"/>
                    <a:pt x="0" y="32378"/>
                  </a:cubicBezTo>
                  <a:cubicBezTo>
                    <a:pt x="0" y="14793"/>
                    <a:pt x="9490" y="0"/>
                    <a:pt x="28470" y="0"/>
                  </a:cubicBezTo>
                  <a:cubicBezTo>
                    <a:pt x="51079" y="0"/>
                    <a:pt x="57499" y="15631"/>
                    <a:pt x="57499" y="36844"/>
                  </a:cubicBezTo>
                  <a:lnTo>
                    <a:pt x="15072" y="36844"/>
                  </a:lnTo>
                  <a:cubicBezTo>
                    <a:pt x="15910" y="46613"/>
                    <a:pt x="22609" y="52196"/>
                    <a:pt x="32657" y="52196"/>
                  </a:cubicBezTo>
                  <a:cubicBezTo>
                    <a:pt x="40473" y="52196"/>
                    <a:pt x="47171" y="49405"/>
                    <a:pt x="53033" y="46055"/>
                  </a:cubicBezTo>
                  <a:lnTo>
                    <a:pt x="53033" y="59453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E334008-5B8F-4F1F-A69E-543231B258CB}"/>
                </a:ext>
              </a:extLst>
            </p:cNvPr>
            <p:cNvSpPr/>
            <p:nvPr/>
          </p:nvSpPr>
          <p:spPr>
            <a:xfrm>
              <a:off x="2188725" y="1148777"/>
              <a:ext cx="60290" cy="87644"/>
            </a:xfrm>
            <a:custGeom>
              <a:avLst/>
              <a:gdLst>
                <a:gd name="connsiteX0" fmla="*/ 15910 w 60290"/>
                <a:gd name="connsiteY0" fmla="*/ 31820 h 87644"/>
                <a:gd name="connsiteX1" fmla="*/ 29866 w 60290"/>
                <a:gd name="connsiteY1" fmla="*/ 51637 h 87644"/>
                <a:gd name="connsiteX2" fmla="*/ 43264 w 60290"/>
                <a:gd name="connsiteY2" fmla="*/ 31820 h 87644"/>
                <a:gd name="connsiteX3" fmla="*/ 30145 w 60290"/>
                <a:gd name="connsiteY3" fmla="*/ 12281 h 87644"/>
                <a:gd name="connsiteX4" fmla="*/ 15910 w 60290"/>
                <a:gd name="connsiteY4" fmla="*/ 31820 h 87644"/>
                <a:gd name="connsiteX5" fmla="*/ 0 w 60290"/>
                <a:gd name="connsiteY5" fmla="*/ 1396 h 87644"/>
                <a:gd name="connsiteX6" fmla="*/ 15352 w 60290"/>
                <a:gd name="connsiteY6" fmla="*/ 1396 h 87644"/>
                <a:gd name="connsiteX7" fmla="*/ 15352 w 60290"/>
                <a:gd name="connsiteY7" fmla="*/ 10048 h 87644"/>
                <a:gd name="connsiteX8" fmla="*/ 15631 w 60290"/>
                <a:gd name="connsiteY8" fmla="*/ 10048 h 87644"/>
                <a:gd name="connsiteX9" fmla="*/ 34611 w 60290"/>
                <a:gd name="connsiteY9" fmla="*/ 0 h 87644"/>
                <a:gd name="connsiteX10" fmla="*/ 60290 w 60290"/>
                <a:gd name="connsiteY10" fmla="*/ 31820 h 87644"/>
                <a:gd name="connsiteX11" fmla="*/ 34332 w 60290"/>
                <a:gd name="connsiteY11" fmla="*/ 63919 h 87644"/>
                <a:gd name="connsiteX12" fmla="*/ 16468 w 60290"/>
                <a:gd name="connsiteY12" fmla="*/ 55545 h 87644"/>
                <a:gd name="connsiteX13" fmla="*/ 16189 w 60290"/>
                <a:gd name="connsiteY13" fmla="*/ 55545 h 87644"/>
                <a:gd name="connsiteX14" fmla="*/ 16189 w 60290"/>
                <a:gd name="connsiteY14" fmla="*/ 87644 h 87644"/>
                <a:gd name="connsiteX15" fmla="*/ 279 w 60290"/>
                <a:gd name="connsiteY15" fmla="*/ 87644 h 87644"/>
                <a:gd name="connsiteX16" fmla="*/ 279 w 60290"/>
                <a:gd name="connsiteY16" fmla="*/ 1396 h 8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290" h="87644">
                  <a:moveTo>
                    <a:pt x="15910" y="31820"/>
                  </a:moveTo>
                  <a:cubicBezTo>
                    <a:pt x="15910" y="40473"/>
                    <a:pt x="19259" y="51637"/>
                    <a:pt x="29866" y="51637"/>
                  </a:cubicBezTo>
                  <a:cubicBezTo>
                    <a:pt x="40194" y="51637"/>
                    <a:pt x="43264" y="40194"/>
                    <a:pt x="43264" y="31820"/>
                  </a:cubicBezTo>
                  <a:cubicBezTo>
                    <a:pt x="43264" y="23725"/>
                    <a:pt x="40473" y="12281"/>
                    <a:pt x="30145" y="12281"/>
                  </a:cubicBezTo>
                  <a:cubicBezTo>
                    <a:pt x="19818" y="12281"/>
                    <a:pt x="15910" y="23167"/>
                    <a:pt x="15910" y="31820"/>
                  </a:cubicBezTo>
                  <a:moveTo>
                    <a:pt x="0" y="1396"/>
                  </a:moveTo>
                  <a:lnTo>
                    <a:pt x="15352" y="1396"/>
                  </a:lnTo>
                  <a:lnTo>
                    <a:pt x="15352" y="10048"/>
                  </a:lnTo>
                  <a:lnTo>
                    <a:pt x="15631" y="10048"/>
                  </a:lnTo>
                  <a:cubicBezTo>
                    <a:pt x="19259" y="4187"/>
                    <a:pt x="25400" y="0"/>
                    <a:pt x="34611" y="0"/>
                  </a:cubicBezTo>
                  <a:cubicBezTo>
                    <a:pt x="53312" y="0"/>
                    <a:pt x="60290" y="15073"/>
                    <a:pt x="60290" y="31820"/>
                  </a:cubicBezTo>
                  <a:cubicBezTo>
                    <a:pt x="60290" y="48567"/>
                    <a:pt x="53312" y="63919"/>
                    <a:pt x="34332" y="63919"/>
                  </a:cubicBezTo>
                  <a:cubicBezTo>
                    <a:pt x="27633" y="63919"/>
                    <a:pt x="22051" y="62244"/>
                    <a:pt x="16468" y="55545"/>
                  </a:cubicBezTo>
                  <a:lnTo>
                    <a:pt x="16189" y="55545"/>
                  </a:lnTo>
                  <a:lnTo>
                    <a:pt x="16189" y="87644"/>
                  </a:lnTo>
                  <a:lnTo>
                    <a:pt x="279" y="87644"/>
                  </a:lnTo>
                  <a:lnTo>
                    <a:pt x="279" y="1396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59FFADC-A4EE-49CB-8BA3-BC4202E57504}"/>
                </a:ext>
              </a:extLst>
            </p:cNvPr>
            <p:cNvSpPr/>
            <p:nvPr/>
          </p:nvSpPr>
          <p:spPr>
            <a:xfrm>
              <a:off x="2261017" y="1150173"/>
              <a:ext cx="56382" cy="62523"/>
            </a:xfrm>
            <a:custGeom>
              <a:avLst/>
              <a:gdLst>
                <a:gd name="connsiteX0" fmla="*/ 56382 w 56382"/>
                <a:gd name="connsiteY0" fmla="*/ 61128 h 62523"/>
                <a:gd name="connsiteX1" fmla="*/ 41310 w 56382"/>
                <a:gd name="connsiteY1" fmla="*/ 61128 h 62523"/>
                <a:gd name="connsiteX2" fmla="*/ 41310 w 56382"/>
                <a:gd name="connsiteY2" fmla="*/ 52754 h 62523"/>
                <a:gd name="connsiteX3" fmla="*/ 41031 w 56382"/>
                <a:gd name="connsiteY3" fmla="*/ 52754 h 62523"/>
                <a:gd name="connsiteX4" fmla="*/ 20934 w 56382"/>
                <a:gd name="connsiteY4" fmla="*/ 62523 h 62523"/>
                <a:gd name="connsiteX5" fmla="*/ 0 w 56382"/>
                <a:gd name="connsiteY5" fmla="*/ 38519 h 62523"/>
                <a:gd name="connsiteX6" fmla="*/ 0 w 56382"/>
                <a:gd name="connsiteY6" fmla="*/ 0 h 62523"/>
                <a:gd name="connsiteX7" fmla="*/ 15910 w 56382"/>
                <a:gd name="connsiteY7" fmla="*/ 0 h 62523"/>
                <a:gd name="connsiteX8" fmla="*/ 15910 w 56382"/>
                <a:gd name="connsiteY8" fmla="*/ 32657 h 62523"/>
                <a:gd name="connsiteX9" fmla="*/ 26237 w 56382"/>
                <a:gd name="connsiteY9" fmla="*/ 50242 h 62523"/>
                <a:gd name="connsiteX10" fmla="*/ 40193 w 56382"/>
                <a:gd name="connsiteY10" fmla="*/ 29866 h 62523"/>
                <a:gd name="connsiteX11" fmla="*/ 40193 w 56382"/>
                <a:gd name="connsiteY11" fmla="*/ 0 h 62523"/>
                <a:gd name="connsiteX12" fmla="*/ 56103 w 56382"/>
                <a:gd name="connsiteY12" fmla="*/ 0 h 62523"/>
                <a:gd name="connsiteX13" fmla="*/ 56103 w 56382"/>
                <a:gd name="connsiteY13" fmla="*/ 61128 h 62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382" h="62523">
                  <a:moveTo>
                    <a:pt x="56382" y="61128"/>
                  </a:moveTo>
                  <a:lnTo>
                    <a:pt x="41310" y="61128"/>
                  </a:lnTo>
                  <a:lnTo>
                    <a:pt x="41310" y="52754"/>
                  </a:lnTo>
                  <a:lnTo>
                    <a:pt x="41031" y="52754"/>
                  </a:lnTo>
                  <a:cubicBezTo>
                    <a:pt x="36286" y="58616"/>
                    <a:pt x="29308" y="62523"/>
                    <a:pt x="20934" y="62523"/>
                  </a:cubicBezTo>
                  <a:cubicBezTo>
                    <a:pt x="6420" y="62523"/>
                    <a:pt x="0" y="52196"/>
                    <a:pt x="0" y="38519"/>
                  </a:cubicBezTo>
                  <a:lnTo>
                    <a:pt x="0" y="0"/>
                  </a:lnTo>
                  <a:lnTo>
                    <a:pt x="15910" y="0"/>
                  </a:lnTo>
                  <a:lnTo>
                    <a:pt x="15910" y="32657"/>
                  </a:lnTo>
                  <a:cubicBezTo>
                    <a:pt x="15910" y="40194"/>
                    <a:pt x="15910" y="50242"/>
                    <a:pt x="26237" y="50242"/>
                  </a:cubicBezTo>
                  <a:cubicBezTo>
                    <a:pt x="37681" y="50242"/>
                    <a:pt x="40193" y="37681"/>
                    <a:pt x="40193" y="29866"/>
                  </a:cubicBezTo>
                  <a:lnTo>
                    <a:pt x="40193" y="0"/>
                  </a:lnTo>
                  <a:lnTo>
                    <a:pt x="56103" y="0"/>
                  </a:lnTo>
                  <a:lnTo>
                    <a:pt x="56103" y="61128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3F1AA54-61F4-46B2-AC92-ABBC29B59038}"/>
                </a:ext>
              </a:extLst>
            </p:cNvPr>
            <p:cNvSpPr/>
            <p:nvPr/>
          </p:nvSpPr>
          <p:spPr>
            <a:xfrm>
              <a:off x="2333868" y="1122261"/>
              <a:ext cx="60290" cy="90435"/>
            </a:xfrm>
            <a:custGeom>
              <a:avLst/>
              <a:gdLst>
                <a:gd name="connsiteX0" fmla="*/ 29866 w 60290"/>
                <a:gd name="connsiteY0" fmla="*/ 78154 h 90435"/>
                <a:gd name="connsiteX1" fmla="*/ 43264 w 60290"/>
                <a:gd name="connsiteY1" fmla="*/ 58336 h 90435"/>
                <a:gd name="connsiteX2" fmla="*/ 30145 w 60290"/>
                <a:gd name="connsiteY2" fmla="*/ 38798 h 90435"/>
                <a:gd name="connsiteX3" fmla="*/ 15910 w 60290"/>
                <a:gd name="connsiteY3" fmla="*/ 58336 h 90435"/>
                <a:gd name="connsiteX4" fmla="*/ 29866 w 60290"/>
                <a:gd name="connsiteY4" fmla="*/ 78154 h 90435"/>
                <a:gd name="connsiteX5" fmla="*/ 0 w 60290"/>
                <a:gd name="connsiteY5" fmla="*/ 0 h 90435"/>
                <a:gd name="connsiteX6" fmla="*/ 15910 w 60290"/>
                <a:gd name="connsiteY6" fmla="*/ 0 h 90435"/>
                <a:gd name="connsiteX7" fmla="*/ 15910 w 60290"/>
                <a:gd name="connsiteY7" fmla="*/ 35728 h 90435"/>
                <a:gd name="connsiteX8" fmla="*/ 16189 w 60290"/>
                <a:gd name="connsiteY8" fmla="*/ 35728 h 90435"/>
                <a:gd name="connsiteX9" fmla="*/ 34611 w 60290"/>
                <a:gd name="connsiteY9" fmla="*/ 26517 h 90435"/>
                <a:gd name="connsiteX10" fmla="*/ 60290 w 60290"/>
                <a:gd name="connsiteY10" fmla="*/ 58336 h 90435"/>
                <a:gd name="connsiteX11" fmla="*/ 34611 w 60290"/>
                <a:gd name="connsiteY11" fmla="*/ 90435 h 90435"/>
                <a:gd name="connsiteX12" fmla="*/ 15910 w 60290"/>
                <a:gd name="connsiteY12" fmla="*/ 81504 h 90435"/>
                <a:gd name="connsiteX13" fmla="*/ 15352 w 60290"/>
                <a:gd name="connsiteY13" fmla="*/ 81504 h 90435"/>
                <a:gd name="connsiteX14" fmla="*/ 15352 w 60290"/>
                <a:gd name="connsiteY14" fmla="*/ 89040 h 90435"/>
                <a:gd name="connsiteX15" fmla="*/ 0 w 60290"/>
                <a:gd name="connsiteY15" fmla="*/ 89040 h 90435"/>
                <a:gd name="connsiteX16" fmla="*/ 0 w 60290"/>
                <a:gd name="connsiteY16" fmla="*/ 0 h 90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290" h="90435">
                  <a:moveTo>
                    <a:pt x="29866" y="78154"/>
                  </a:moveTo>
                  <a:cubicBezTo>
                    <a:pt x="40194" y="78154"/>
                    <a:pt x="43264" y="66710"/>
                    <a:pt x="43264" y="58336"/>
                  </a:cubicBezTo>
                  <a:cubicBezTo>
                    <a:pt x="43264" y="50242"/>
                    <a:pt x="40473" y="38798"/>
                    <a:pt x="30145" y="38798"/>
                  </a:cubicBezTo>
                  <a:cubicBezTo>
                    <a:pt x="19818" y="38798"/>
                    <a:pt x="15910" y="49684"/>
                    <a:pt x="15910" y="58336"/>
                  </a:cubicBezTo>
                  <a:cubicBezTo>
                    <a:pt x="15910" y="66989"/>
                    <a:pt x="19259" y="78154"/>
                    <a:pt x="29866" y="78154"/>
                  </a:cubicBezTo>
                  <a:moveTo>
                    <a:pt x="0" y="0"/>
                  </a:moveTo>
                  <a:lnTo>
                    <a:pt x="15910" y="0"/>
                  </a:lnTo>
                  <a:lnTo>
                    <a:pt x="15910" y="35728"/>
                  </a:lnTo>
                  <a:lnTo>
                    <a:pt x="16189" y="35728"/>
                  </a:lnTo>
                  <a:cubicBezTo>
                    <a:pt x="20655" y="29866"/>
                    <a:pt x="26237" y="26517"/>
                    <a:pt x="34611" y="26517"/>
                  </a:cubicBezTo>
                  <a:cubicBezTo>
                    <a:pt x="53312" y="26517"/>
                    <a:pt x="60290" y="41589"/>
                    <a:pt x="60290" y="58336"/>
                  </a:cubicBezTo>
                  <a:cubicBezTo>
                    <a:pt x="60290" y="75084"/>
                    <a:pt x="53312" y="90435"/>
                    <a:pt x="34611" y="90435"/>
                  </a:cubicBezTo>
                  <a:cubicBezTo>
                    <a:pt x="27912" y="90435"/>
                    <a:pt x="20376" y="87923"/>
                    <a:pt x="15910" y="81504"/>
                  </a:cubicBezTo>
                  <a:lnTo>
                    <a:pt x="15352" y="81504"/>
                  </a:lnTo>
                  <a:lnTo>
                    <a:pt x="15352" y="89040"/>
                  </a:lnTo>
                  <a:lnTo>
                    <a:pt x="0" y="890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EAA6D9C-88EE-4A12-8E2A-E34F43E904C5}"/>
                </a:ext>
              </a:extLst>
            </p:cNvPr>
            <p:cNvSpPr/>
            <p:nvPr/>
          </p:nvSpPr>
          <p:spPr>
            <a:xfrm>
              <a:off x="2406719" y="1122261"/>
              <a:ext cx="15909" cy="89039"/>
            </a:xfrm>
            <a:custGeom>
              <a:avLst/>
              <a:gdLst>
                <a:gd name="connsiteX0" fmla="*/ 0 w 15909"/>
                <a:gd name="connsiteY0" fmla="*/ 0 h 89039"/>
                <a:gd name="connsiteX1" fmla="*/ 15910 w 15909"/>
                <a:gd name="connsiteY1" fmla="*/ 0 h 89039"/>
                <a:gd name="connsiteX2" fmla="*/ 15910 w 15909"/>
                <a:gd name="connsiteY2" fmla="*/ 89040 h 89039"/>
                <a:gd name="connsiteX3" fmla="*/ 0 w 15909"/>
                <a:gd name="connsiteY3" fmla="*/ 89040 h 89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09" h="89039">
                  <a:moveTo>
                    <a:pt x="0" y="0"/>
                  </a:moveTo>
                  <a:lnTo>
                    <a:pt x="15910" y="0"/>
                  </a:lnTo>
                  <a:lnTo>
                    <a:pt x="15910" y="89040"/>
                  </a:lnTo>
                  <a:lnTo>
                    <a:pt x="0" y="8904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8E8BF6B-22D3-460B-9147-9D3D5FDBB19D}"/>
                </a:ext>
              </a:extLst>
            </p:cNvPr>
            <p:cNvSpPr/>
            <p:nvPr/>
          </p:nvSpPr>
          <p:spPr>
            <a:xfrm>
              <a:off x="2439655" y="1123656"/>
              <a:ext cx="15909" cy="87644"/>
            </a:xfrm>
            <a:custGeom>
              <a:avLst/>
              <a:gdLst>
                <a:gd name="connsiteX0" fmla="*/ 0 w 15909"/>
                <a:gd name="connsiteY0" fmla="*/ 26517 h 87644"/>
                <a:gd name="connsiteX1" fmla="*/ 15910 w 15909"/>
                <a:gd name="connsiteY1" fmla="*/ 26517 h 87644"/>
                <a:gd name="connsiteX2" fmla="*/ 15910 w 15909"/>
                <a:gd name="connsiteY2" fmla="*/ 87644 h 87644"/>
                <a:gd name="connsiteX3" fmla="*/ 0 w 15909"/>
                <a:gd name="connsiteY3" fmla="*/ 87644 h 87644"/>
                <a:gd name="connsiteX4" fmla="*/ 0 w 15909"/>
                <a:gd name="connsiteY4" fmla="*/ 26517 h 87644"/>
                <a:gd name="connsiteX5" fmla="*/ 0 w 15909"/>
                <a:gd name="connsiteY5" fmla="*/ 0 h 87644"/>
                <a:gd name="connsiteX6" fmla="*/ 15910 w 15909"/>
                <a:gd name="connsiteY6" fmla="*/ 0 h 87644"/>
                <a:gd name="connsiteX7" fmla="*/ 15910 w 15909"/>
                <a:gd name="connsiteY7" fmla="*/ 15352 h 87644"/>
                <a:gd name="connsiteX8" fmla="*/ 0 w 15909"/>
                <a:gd name="connsiteY8" fmla="*/ 15352 h 87644"/>
                <a:gd name="connsiteX9" fmla="*/ 0 w 15909"/>
                <a:gd name="connsiteY9" fmla="*/ 0 h 8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909" h="87644">
                  <a:moveTo>
                    <a:pt x="0" y="26517"/>
                  </a:moveTo>
                  <a:lnTo>
                    <a:pt x="15910" y="26517"/>
                  </a:lnTo>
                  <a:lnTo>
                    <a:pt x="15910" y="87644"/>
                  </a:lnTo>
                  <a:lnTo>
                    <a:pt x="0" y="87644"/>
                  </a:lnTo>
                  <a:lnTo>
                    <a:pt x="0" y="26517"/>
                  </a:lnTo>
                  <a:close/>
                  <a:moveTo>
                    <a:pt x="0" y="0"/>
                  </a:moveTo>
                  <a:lnTo>
                    <a:pt x="15910" y="0"/>
                  </a:lnTo>
                  <a:lnTo>
                    <a:pt x="15910" y="15352"/>
                  </a:lnTo>
                  <a:lnTo>
                    <a:pt x="0" y="153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B573613-79A8-45AC-BEC3-452AEFDF37EF}"/>
                </a:ext>
              </a:extLst>
            </p:cNvPr>
            <p:cNvSpPr/>
            <p:nvPr/>
          </p:nvSpPr>
          <p:spPr>
            <a:xfrm>
              <a:off x="2468404" y="1148498"/>
              <a:ext cx="46055" cy="64197"/>
            </a:xfrm>
            <a:custGeom>
              <a:avLst/>
              <a:gdLst>
                <a:gd name="connsiteX0" fmla="*/ 43543 w 46055"/>
                <a:gd name="connsiteY0" fmla="*/ 14793 h 64197"/>
                <a:gd name="connsiteX1" fmla="*/ 32657 w 46055"/>
                <a:gd name="connsiteY1" fmla="*/ 12560 h 64197"/>
                <a:gd name="connsiteX2" fmla="*/ 16468 w 46055"/>
                <a:gd name="connsiteY2" fmla="*/ 31820 h 64197"/>
                <a:gd name="connsiteX3" fmla="*/ 32936 w 46055"/>
                <a:gd name="connsiteY3" fmla="*/ 51917 h 64197"/>
                <a:gd name="connsiteX4" fmla="*/ 45218 w 46055"/>
                <a:gd name="connsiteY4" fmla="*/ 49125 h 64197"/>
                <a:gd name="connsiteX5" fmla="*/ 46055 w 46055"/>
                <a:gd name="connsiteY5" fmla="*/ 62244 h 64197"/>
                <a:gd name="connsiteX6" fmla="*/ 30145 w 46055"/>
                <a:gd name="connsiteY6" fmla="*/ 64198 h 64197"/>
                <a:gd name="connsiteX7" fmla="*/ 0 w 46055"/>
                <a:gd name="connsiteY7" fmla="*/ 31820 h 64197"/>
                <a:gd name="connsiteX8" fmla="*/ 29587 w 46055"/>
                <a:gd name="connsiteY8" fmla="*/ 0 h 64197"/>
                <a:gd name="connsiteX9" fmla="*/ 44938 w 46055"/>
                <a:gd name="connsiteY9" fmla="*/ 1954 h 64197"/>
                <a:gd name="connsiteX10" fmla="*/ 43543 w 46055"/>
                <a:gd name="connsiteY10" fmla="*/ 14793 h 6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6055" h="64197">
                  <a:moveTo>
                    <a:pt x="43543" y="14793"/>
                  </a:moveTo>
                  <a:cubicBezTo>
                    <a:pt x="40752" y="13398"/>
                    <a:pt x="37681" y="12560"/>
                    <a:pt x="32657" y="12560"/>
                  </a:cubicBezTo>
                  <a:cubicBezTo>
                    <a:pt x="22888" y="12560"/>
                    <a:pt x="16468" y="20376"/>
                    <a:pt x="16468" y="31820"/>
                  </a:cubicBezTo>
                  <a:cubicBezTo>
                    <a:pt x="16468" y="43264"/>
                    <a:pt x="21771" y="51917"/>
                    <a:pt x="32936" y="51917"/>
                  </a:cubicBezTo>
                  <a:cubicBezTo>
                    <a:pt x="37402" y="51917"/>
                    <a:pt x="42426" y="50242"/>
                    <a:pt x="45218" y="49125"/>
                  </a:cubicBezTo>
                  <a:lnTo>
                    <a:pt x="46055" y="62244"/>
                  </a:lnTo>
                  <a:cubicBezTo>
                    <a:pt x="41310" y="63640"/>
                    <a:pt x="36565" y="64198"/>
                    <a:pt x="30145" y="64198"/>
                  </a:cubicBezTo>
                  <a:cubicBezTo>
                    <a:pt x="10048" y="64198"/>
                    <a:pt x="0" y="50521"/>
                    <a:pt x="0" y="31820"/>
                  </a:cubicBezTo>
                  <a:cubicBezTo>
                    <a:pt x="0" y="14235"/>
                    <a:pt x="10328" y="0"/>
                    <a:pt x="29587" y="0"/>
                  </a:cubicBezTo>
                  <a:cubicBezTo>
                    <a:pt x="36007" y="0"/>
                    <a:pt x="40752" y="837"/>
                    <a:pt x="44938" y="1954"/>
                  </a:cubicBezTo>
                  <a:lnTo>
                    <a:pt x="43543" y="14793"/>
                  </a:lnTo>
                </a:path>
              </a:pathLst>
            </a:custGeom>
            <a:solidFill>
              <a:schemeClr val="bg1"/>
            </a:solidFill>
            <a:ln w="27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11333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7000"/>
    </mc:Choice>
    <mc:Fallback xmlns="">
      <p:transition spd="slow" advClick="0" advTm="7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Expected takeaways from the workshop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3</a:t>
            </a:fld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4D6C13B-970C-C31F-9A1E-33FED2768352}"/>
              </a:ext>
            </a:extLst>
          </p:cNvPr>
          <p:cNvGrpSpPr/>
          <p:nvPr/>
        </p:nvGrpSpPr>
        <p:grpSpPr>
          <a:xfrm>
            <a:off x="-3359860" y="828176"/>
            <a:ext cx="12275619" cy="5888753"/>
            <a:chOff x="-3359860" y="828176"/>
            <a:chExt cx="12275619" cy="5888753"/>
          </a:xfrm>
        </p:grpSpPr>
        <p:sp>
          <p:nvSpPr>
            <p:cNvPr id="10" name="Block Arc 9">
              <a:extLst>
                <a:ext uri="{FF2B5EF4-FFF2-40B4-BE49-F238E27FC236}">
                  <a16:creationId xmlns:a16="http://schemas.microsoft.com/office/drawing/2014/main" id="{4F6A24A2-D98A-8ED4-BB2B-5FFAEFF7C1CE}"/>
                </a:ext>
              </a:extLst>
            </p:cNvPr>
            <p:cNvSpPr/>
            <p:nvPr/>
          </p:nvSpPr>
          <p:spPr>
            <a:xfrm>
              <a:off x="-3359860" y="828176"/>
              <a:ext cx="5888753" cy="5888753"/>
            </a:xfrm>
            <a:prstGeom prst="blockArc">
              <a:avLst>
                <a:gd name="adj1" fmla="val 18900000"/>
                <a:gd name="adj2" fmla="val 2700000"/>
                <a:gd name="adj3" fmla="val 367"/>
              </a:avLst>
            </a:prstGeom>
            <a:solidFill>
              <a:schemeClr val="accent1"/>
            </a:solidFill>
            <a:ln w="28575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cs-CZ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72F2466-FF8A-DD02-92DC-4D119099B0EE}"/>
                </a:ext>
              </a:extLst>
            </p:cNvPr>
            <p:cNvSpPr/>
            <p:nvPr/>
          </p:nvSpPr>
          <p:spPr>
            <a:xfrm>
              <a:off x="2191930" y="2023161"/>
              <a:ext cx="6723829" cy="874695"/>
            </a:xfrm>
            <a:custGeom>
              <a:avLst/>
              <a:gdLst>
                <a:gd name="connsiteX0" fmla="*/ 0 w 6723829"/>
                <a:gd name="connsiteY0" fmla="*/ 0 h 874695"/>
                <a:gd name="connsiteX1" fmla="*/ 6723829 w 6723829"/>
                <a:gd name="connsiteY1" fmla="*/ 0 h 874695"/>
                <a:gd name="connsiteX2" fmla="*/ 6723829 w 6723829"/>
                <a:gd name="connsiteY2" fmla="*/ 874695 h 874695"/>
                <a:gd name="connsiteX3" fmla="*/ 0 w 6723829"/>
                <a:gd name="connsiteY3" fmla="*/ 874695 h 874695"/>
                <a:gd name="connsiteX4" fmla="*/ 0 w 6723829"/>
                <a:gd name="connsiteY4" fmla="*/ 0 h 87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3829" h="874695">
                  <a:moveTo>
                    <a:pt x="0" y="0"/>
                  </a:moveTo>
                  <a:lnTo>
                    <a:pt x="6723829" y="0"/>
                  </a:lnTo>
                  <a:lnTo>
                    <a:pt x="6723829" y="874695"/>
                  </a:lnTo>
                  <a:lnTo>
                    <a:pt x="0" y="874695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rgbClr r="0" g="0" b="0"/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94289" tIns="45720" rIns="45720" bIns="45720" numCol="1" spcCol="1270" anchor="ctr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US" sz="1800" kern="1200"/>
                <a:t>RAG: Whys and </a:t>
              </a:r>
              <a:r>
                <a:rPr lang="en-US" sz="1800" kern="1200" err="1"/>
                <a:t>Hows</a:t>
              </a:r>
              <a:endParaRPr lang="cs-CZ" sz="1800" kern="120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E055157-24BE-C46D-E9BE-9788CBBF159C}"/>
                </a:ext>
              </a:extLst>
            </p:cNvPr>
            <p:cNvSpPr/>
            <p:nvPr/>
          </p:nvSpPr>
          <p:spPr>
            <a:xfrm>
              <a:off x="1645245" y="1913824"/>
              <a:ext cx="1093369" cy="10933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cs-CZ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8A0DE37-B8D9-3016-8122-768AA3406451}"/>
                </a:ext>
              </a:extLst>
            </p:cNvPr>
            <p:cNvSpPr/>
            <p:nvPr/>
          </p:nvSpPr>
          <p:spPr>
            <a:xfrm>
              <a:off x="2509881" y="3335204"/>
              <a:ext cx="6405877" cy="874695"/>
            </a:xfrm>
            <a:custGeom>
              <a:avLst/>
              <a:gdLst>
                <a:gd name="connsiteX0" fmla="*/ 0 w 6405877"/>
                <a:gd name="connsiteY0" fmla="*/ 0 h 874695"/>
                <a:gd name="connsiteX1" fmla="*/ 6405877 w 6405877"/>
                <a:gd name="connsiteY1" fmla="*/ 0 h 874695"/>
                <a:gd name="connsiteX2" fmla="*/ 6405877 w 6405877"/>
                <a:gd name="connsiteY2" fmla="*/ 874695 h 874695"/>
                <a:gd name="connsiteX3" fmla="*/ 0 w 6405877"/>
                <a:gd name="connsiteY3" fmla="*/ 874695 h 874695"/>
                <a:gd name="connsiteX4" fmla="*/ 0 w 6405877"/>
                <a:gd name="connsiteY4" fmla="*/ 0 h 87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05877" h="874695">
                  <a:moveTo>
                    <a:pt x="0" y="0"/>
                  </a:moveTo>
                  <a:lnTo>
                    <a:pt x="6405877" y="0"/>
                  </a:lnTo>
                  <a:lnTo>
                    <a:pt x="6405877" y="874695"/>
                  </a:lnTo>
                  <a:lnTo>
                    <a:pt x="0" y="874695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rgbClr r="0" g="0" b="0"/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94289" tIns="45720" rIns="45720" bIns="45720" numCol="1" spcCol="1270" anchor="ctr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/>
                <a:t>Issues commonly encountered when developing RAG for a real </a:t>
              </a:r>
              <a:r>
                <a:rPr lang="en-US" sz="1800" kern="1200" err="1"/>
                <a:t>usecase</a:t>
              </a:r>
              <a:endParaRPr lang="en-US" sz="1800" kern="120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70D24AC-6402-F4B9-D494-8E2E5C1C9615}"/>
                </a:ext>
              </a:extLst>
            </p:cNvPr>
            <p:cNvSpPr/>
            <p:nvPr/>
          </p:nvSpPr>
          <p:spPr>
            <a:xfrm>
              <a:off x="1963197" y="3225867"/>
              <a:ext cx="1093369" cy="10933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cs-CZ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4C23985-7E9A-5856-F8C0-BF5629856409}"/>
                </a:ext>
              </a:extLst>
            </p:cNvPr>
            <p:cNvSpPr/>
            <p:nvPr/>
          </p:nvSpPr>
          <p:spPr>
            <a:xfrm>
              <a:off x="2191930" y="4647247"/>
              <a:ext cx="6723829" cy="874695"/>
            </a:xfrm>
            <a:custGeom>
              <a:avLst/>
              <a:gdLst>
                <a:gd name="connsiteX0" fmla="*/ 0 w 6723829"/>
                <a:gd name="connsiteY0" fmla="*/ 0 h 874695"/>
                <a:gd name="connsiteX1" fmla="*/ 6723829 w 6723829"/>
                <a:gd name="connsiteY1" fmla="*/ 0 h 874695"/>
                <a:gd name="connsiteX2" fmla="*/ 6723829 w 6723829"/>
                <a:gd name="connsiteY2" fmla="*/ 874695 h 874695"/>
                <a:gd name="connsiteX3" fmla="*/ 0 w 6723829"/>
                <a:gd name="connsiteY3" fmla="*/ 874695 h 874695"/>
                <a:gd name="connsiteX4" fmla="*/ 0 w 6723829"/>
                <a:gd name="connsiteY4" fmla="*/ 0 h 87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3829" h="874695">
                  <a:moveTo>
                    <a:pt x="0" y="0"/>
                  </a:moveTo>
                  <a:lnTo>
                    <a:pt x="6723829" y="0"/>
                  </a:lnTo>
                  <a:lnTo>
                    <a:pt x="6723829" y="874695"/>
                  </a:lnTo>
                  <a:lnTo>
                    <a:pt x="0" y="874695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rgbClr r="0" g="0" b="0"/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94289" tIns="45720" rIns="45720" bIns="45720" numCol="1" spcCol="1270" anchor="ctr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/>
                <a:t>How to build an evaluation system that allows efficient optimization that will overcome the common problems</a:t>
              </a: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5349C328-CA31-1170-B6D2-AEF3B721949E}"/>
                </a:ext>
              </a:extLst>
            </p:cNvPr>
            <p:cNvSpPr/>
            <p:nvPr/>
          </p:nvSpPr>
          <p:spPr>
            <a:xfrm>
              <a:off x="1645245" y="4537910"/>
              <a:ext cx="1093369" cy="10933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41826314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Timeline of the workshop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4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ovéPole 3">
            <a:extLst>
              <a:ext uri="{FF2B5EF4-FFF2-40B4-BE49-F238E27FC236}">
                <a16:creationId xmlns:a16="http://schemas.microsoft.com/office/drawing/2014/main" id="{6F51A9BE-BCFB-7148-0358-E481059F5DC0}"/>
              </a:ext>
            </a:extLst>
          </p:cNvPr>
          <p:cNvSpPr txBox="1"/>
          <p:nvPr/>
        </p:nvSpPr>
        <p:spPr>
          <a:xfrm>
            <a:off x="965200" y="1447912"/>
            <a:ext cx="8354646" cy="44012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AutoNum type="arabicParenR"/>
            </a:pPr>
            <a:r>
              <a:rPr lang="en-US" sz="2000">
                <a:solidFill>
                  <a:schemeClr val="accent1"/>
                </a:solidFill>
              </a:rPr>
              <a:t>Introducing RAG methodology</a:t>
            </a:r>
          </a:p>
          <a:p>
            <a:pPr marL="914400" lvl="1" indent="-457200">
              <a:buFont typeface="+mj-lt"/>
              <a:buAutoNum type="alphaLcPeriod"/>
            </a:pPr>
            <a:r>
              <a:rPr lang="en-US" sz="2000">
                <a:solidFill>
                  <a:schemeClr val="bg1"/>
                </a:solidFill>
              </a:rPr>
              <a:t>Discussing benefits and limitations</a:t>
            </a:r>
          </a:p>
          <a:p>
            <a:pPr marL="914400" lvl="1" indent="-457200">
              <a:buFont typeface="+mj-lt"/>
              <a:buAutoNum type="alphaLcPeriod"/>
            </a:pPr>
            <a:r>
              <a:rPr lang="en-US" sz="2000" u="sng">
                <a:solidFill>
                  <a:schemeClr val="bg1"/>
                </a:solidFill>
              </a:rPr>
              <a:t>Practical session</a:t>
            </a:r>
            <a:r>
              <a:rPr lang="en-US" sz="2000">
                <a:solidFill>
                  <a:schemeClr val="bg1"/>
                </a:solidFill>
              </a:rPr>
              <a:t>: Setting up the RAG in google </a:t>
            </a:r>
            <a:r>
              <a:rPr lang="en-US" sz="2000" err="1">
                <a:solidFill>
                  <a:schemeClr val="bg1"/>
                </a:solidFill>
              </a:rPr>
              <a:t>colab</a:t>
            </a:r>
            <a:r>
              <a:rPr lang="en-US" sz="2000">
                <a:solidFill>
                  <a:schemeClr val="bg1"/>
                </a:solidFill>
              </a:rPr>
              <a:t> about elections around the world</a:t>
            </a:r>
          </a:p>
          <a:p>
            <a:pPr marL="342900" indent="-342900">
              <a:buAutoNum type="arabicParenR"/>
            </a:pPr>
            <a:endParaRPr lang="en-US" sz="2000">
              <a:solidFill>
                <a:schemeClr val="bg1"/>
              </a:solidFill>
            </a:endParaRPr>
          </a:p>
          <a:p>
            <a:pPr marL="342900" indent="-342900">
              <a:buAutoNum type="arabicParenR"/>
            </a:pPr>
            <a:r>
              <a:rPr lang="en-US" sz="2000">
                <a:solidFill>
                  <a:schemeClr val="accent1"/>
                </a:solidFill>
              </a:rPr>
              <a:t>How to evaluate accuracy of the whole RAG system</a:t>
            </a:r>
          </a:p>
          <a:p>
            <a:pPr marL="914400" lvl="1" indent="-457200">
              <a:buFont typeface="+mj-lt"/>
              <a:buAutoNum type="alphaLcPeriod"/>
            </a:pPr>
            <a:r>
              <a:rPr lang="en-US" sz="2000">
                <a:solidFill>
                  <a:schemeClr val="bg1"/>
                </a:solidFill>
              </a:rPr>
              <a:t>What kind of metrics can be used</a:t>
            </a:r>
          </a:p>
          <a:p>
            <a:pPr marL="914400" lvl="1" indent="-457200">
              <a:buFont typeface="+mj-lt"/>
              <a:buAutoNum type="alphaLcPeriod"/>
            </a:pPr>
            <a:r>
              <a:rPr lang="en-US" sz="2000" u="sng">
                <a:solidFill>
                  <a:schemeClr val="bg1"/>
                </a:solidFill>
              </a:rPr>
              <a:t>Practical session</a:t>
            </a:r>
            <a:r>
              <a:rPr lang="en-US" sz="2000">
                <a:solidFill>
                  <a:schemeClr val="bg1"/>
                </a:solidFill>
              </a:rPr>
              <a:t>: improving RAG with manual evaluation</a:t>
            </a:r>
          </a:p>
          <a:p>
            <a:pPr marL="342900" indent="-342900">
              <a:buAutoNum type="arabicParenR"/>
            </a:pPr>
            <a:endParaRPr lang="en-US" sz="2000">
              <a:solidFill>
                <a:schemeClr val="bg1"/>
              </a:solidFill>
            </a:endParaRPr>
          </a:p>
          <a:p>
            <a:pPr marL="342900" indent="-342900">
              <a:buAutoNum type="arabicParenR"/>
            </a:pPr>
            <a:r>
              <a:rPr lang="en-US" sz="2000">
                <a:solidFill>
                  <a:schemeClr val="accent1"/>
                </a:solidFill>
              </a:rPr>
              <a:t>How to automate the evaluation</a:t>
            </a:r>
          </a:p>
          <a:p>
            <a:pPr marL="914400" lvl="1" indent="-457200">
              <a:buFont typeface="+mj-lt"/>
              <a:buAutoNum type="alphaLcPeriod"/>
            </a:pPr>
            <a:r>
              <a:rPr lang="en-US" sz="2000">
                <a:solidFill>
                  <a:schemeClr val="bg1"/>
                </a:solidFill>
              </a:rPr>
              <a:t>Introducing the automation process</a:t>
            </a:r>
          </a:p>
          <a:p>
            <a:pPr marL="914400" lvl="1" indent="-457200">
              <a:buFont typeface="+mj-lt"/>
              <a:buAutoNum type="alphaLcPeriod"/>
            </a:pPr>
            <a:r>
              <a:rPr lang="en-US" sz="2000" u="sng">
                <a:solidFill>
                  <a:schemeClr val="bg1"/>
                </a:solidFill>
              </a:rPr>
              <a:t>Practical session</a:t>
            </a:r>
            <a:r>
              <a:rPr lang="en-US" sz="2000">
                <a:solidFill>
                  <a:schemeClr val="bg1"/>
                </a:solidFill>
              </a:rPr>
              <a:t>: training your own automated agent</a:t>
            </a:r>
            <a:endParaRPr lang="en-US" sz="2000">
              <a:solidFill>
                <a:schemeClr val="bg1"/>
              </a:solidFill>
              <a:cs typeface="Bai Jamjuree"/>
            </a:endParaRPr>
          </a:p>
          <a:p>
            <a:pPr marL="914400" lvl="1" indent="-457200">
              <a:buFont typeface="+mj-lt"/>
              <a:buAutoNum type="alphaLcPeriod"/>
            </a:pPr>
            <a:endParaRPr lang="en-US" sz="2000">
              <a:solidFill>
                <a:schemeClr val="bg1"/>
              </a:solidFill>
            </a:endParaRPr>
          </a:p>
          <a:p>
            <a:pPr marL="457200" indent="-457200">
              <a:buFont typeface="+mj-lt"/>
              <a:buAutoNum type="arabicParenR"/>
            </a:pPr>
            <a:r>
              <a:rPr lang="en-US" sz="2000" u="sng">
                <a:solidFill>
                  <a:schemeClr val="bg1"/>
                </a:solidFill>
              </a:rPr>
              <a:t>Practical session</a:t>
            </a:r>
            <a:r>
              <a:rPr lang="en-US" sz="2000">
                <a:solidFill>
                  <a:schemeClr val="bg1"/>
                </a:solidFill>
              </a:rPr>
              <a:t>: optimize the RAG -&gt; leaderboards and prizes</a:t>
            </a:r>
            <a:r>
              <a:rPr lang="en-US" sz="2000" b="1">
                <a:solidFill>
                  <a:schemeClr val="bg1"/>
                </a:solidFill>
              </a:rPr>
              <a:t> </a:t>
            </a:r>
            <a:r>
              <a:rPr lang="en-US" sz="2000" b="1">
                <a:solidFill>
                  <a:schemeClr val="bg1"/>
                </a:solidFill>
                <a:sym typeface="Wingdings" panose="05000000000000000000" pitchFamily="2" charset="2"/>
              </a:rPr>
              <a:t></a:t>
            </a:r>
            <a:r>
              <a:rPr lang="en-US" sz="2000" b="1">
                <a:solidFill>
                  <a:schemeClr val="bg1"/>
                </a:solidFill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19203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: Pentagon 1">
            <a:extLst>
              <a:ext uri="{FF2B5EF4-FFF2-40B4-BE49-F238E27FC236}">
                <a16:creationId xmlns:a16="http://schemas.microsoft.com/office/drawing/2014/main" id="{51A1FC03-BAAA-DAD2-2EC7-79D363C3D876}"/>
              </a:ext>
            </a:extLst>
          </p:cNvPr>
          <p:cNvSpPr/>
          <p:nvPr/>
        </p:nvSpPr>
        <p:spPr>
          <a:xfrm>
            <a:off x="-6981" y="-3176"/>
            <a:ext cx="5029200" cy="6858000"/>
          </a:xfrm>
          <a:prstGeom prst="homePlate">
            <a:avLst/>
          </a:prstGeom>
          <a:gradFill>
            <a:gsLst>
              <a:gs pos="5000">
                <a:schemeClr val="tx1"/>
              </a:gs>
              <a:gs pos="6600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E4E12A74-D6DB-0CBC-566A-F27FD2897717}"/>
              </a:ext>
            </a:extLst>
          </p:cNvPr>
          <p:cNvSpPr/>
          <p:nvPr/>
        </p:nvSpPr>
        <p:spPr>
          <a:xfrm>
            <a:off x="2496326" y="-3301"/>
            <a:ext cx="5029200" cy="6858000"/>
          </a:xfrm>
          <a:prstGeom prst="chevron">
            <a:avLst/>
          </a:prstGeom>
          <a:gradFill>
            <a:gsLst>
              <a:gs pos="60000">
                <a:schemeClr val="accent1"/>
              </a:gs>
              <a:gs pos="81000">
                <a:schemeClr val="accent1">
                  <a:lumMod val="60000"/>
                  <a:lumOff val="4000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ABA45C64-9639-6798-8F8E-B3291327CB69}"/>
              </a:ext>
            </a:extLst>
          </p:cNvPr>
          <p:cNvSpPr/>
          <p:nvPr/>
        </p:nvSpPr>
        <p:spPr>
          <a:xfrm>
            <a:off x="4998276" y="-3301"/>
            <a:ext cx="5029200" cy="685800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D1A47-0863-4AB4-91ED-899A161CD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D1A47-0863-4AB4-91ED-899A161CD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81F898C-A8D6-4F3F-9BC0-2A9891FE6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326" y="3204100"/>
            <a:ext cx="10974171" cy="443198"/>
          </a:xfrm>
        </p:spPr>
        <p:txBody>
          <a:bodyPr vert="horz"/>
          <a:lstStyle/>
          <a:p>
            <a:r>
              <a:rPr lang="en-US" sz="3200" b="1">
                <a:solidFill>
                  <a:schemeClr val="tx1"/>
                </a:solidFill>
                <a:ea typeface="+mn-ea"/>
                <a:cs typeface="Bai Jamjuree bold"/>
              </a:rPr>
              <a:t>1. Retrieval-Augmented Generation (RAG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BD1EED-ADD7-4F2D-999A-6FEEF32804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37C99E-FD15-4DCC-8D86-578F5468FE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747106E-8B7B-1198-CC14-41B29DF14D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8054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8354646" cy="1052596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How to overcome knowledge limitation of pretrained models?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6</a:t>
            </a:fld>
            <a:endParaRPr lang="en-US">
              <a:solidFill>
                <a:schemeClr val="bg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973700F-8AF5-A3F2-087E-33F438DA6D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488386"/>
              </p:ext>
            </p:extLst>
          </p:nvPr>
        </p:nvGraphicFramePr>
        <p:xfrm>
          <a:off x="965200" y="2091004"/>
          <a:ext cx="10320926" cy="36413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17124">
                  <a:extLst>
                    <a:ext uri="{9D8B030D-6E8A-4147-A177-3AD203B41FA5}">
                      <a16:colId xmlns:a16="http://schemas.microsoft.com/office/drawing/2014/main" val="3794207929"/>
                    </a:ext>
                  </a:extLst>
                </a:gridCol>
                <a:gridCol w="4645665">
                  <a:extLst>
                    <a:ext uri="{9D8B030D-6E8A-4147-A177-3AD203B41FA5}">
                      <a16:colId xmlns:a16="http://schemas.microsoft.com/office/drawing/2014/main" val="3553038144"/>
                    </a:ext>
                  </a:extLst>
                </a:gridCol>
                <a:gridCol w="3958137">
                  <a:extLst>
                    <a:ext uri="{9D8B030D-6E8A-4147-A177-3AD203B41FA5}">
                      <a16:colId xmlns:a16="http://schemas.microsoft.com/office/drawing/2014/main" val="1770117108"/>
                    </a:ext>
                  </a:extLst>
                </a:gridCol>
              </a:tblGrid>
              <a:tr h="633176">
                <a:tc>
                  <a:txBody>
                    <a:bodyPr/>
                    <a:lstStyle/>
                    <a:p>
                      <a:endParaRPr lang="cs-CZ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 i="0">
                          <a:solidFill>
                            <a:srgbClr val="00B050"/>
                          </a:solidFill>
                        </a:rPr>
                        <a:t>Pros</a:t>
                      </a:r>
                      <a:endParaRPr lang="cs-CZ" b="1" i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 i="0">
                          <a:solidFill>
                            <a:srgbClr val="C00000"/>
                          </a:solidFill>
                        </a:rPr>
                        <a:t>Cons</a:t>
                      </a:r>
                      <a:endParaRPr lang="cs-CZ" b="1" i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20837877"/>
                  </a:ext>
                </a:extLst>
              </a:tr>
              <a:tr h="1092879">
                <a:tc>
                  <a:txBody>
                    <a:bodyPr/>
                    <a:lstStyle/>
                    <a:p>
                      <a:r>
                        <a:rPr lang="en-US" sz="2000" b="1">
                          <a:solidFill>
                            <a:schemeClr val="accent1"/>
                          </a:solidFill>
                        </a:rPr>
                        <a:t>Finetuning</a:t>
                      </a:r>
                      <a:endParaRPr lang="cs-CZ" sz="20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Low inference cost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Knowledge discovery</a:t>
                      </a:r>
                      <a:endParaRPr lang="cs-CZ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High initial cost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Further data updates</a:t>
                      </a:r>
                      <a:endParaRPr lang="cs-CZ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580310"/>
                  </a:ext>
                </a:extLst>
              </a:tr>
              <a:tr h="1915263">
                <a:tc>
                  <a:txBody>
                    <a:bodyPr/>
                    <a:lstStyle/>
                    <a:p>
                      <a:r>
                        <a:rPr lang="en-US" sz="2000" b="1">
                          <a:solidFill>
                            <a:schemeClr val="accent1"/>
                          </a:solidFill>
                        </a:rPr>
                        <a:t>RAG</a:t>
                      </a:r>
                      <a:endParaRPr lang="cs-CZ" sz="20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800" err="1">
                          <a:solidFill>
                            <a:schemeClr val="bg1"/>
                          </a:solidFill>
                        </a:rPr>
                        <a:t>Explainability</a:t>
                      </a:r>
                      <a:endParaRPr lang="en-US" sz="1800">
                        <a:solidFill>
                          <a:schemeClr val="bg1"/>
                        </a:solidFill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Privacy (access roles can be implemented)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Low initial cost</a:t>
                      </a:r>
                      <a:endParaRPr lang="cs-CZ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High inference cost</a:t>
                      </a:r>
                      <a:endParaRPr lang="cs-CZ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23250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04590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What is RAG?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dirty="0" smtClean="0">
                <a:solidFill>
                  <a:schemeClr val="bg1"/>
                </a:solidFill>
              </a:rPr>
              <a:t>7</a:t>
            </a:fld>
            <a:endParaRPr lang="en-US">
              <a:solidFill>
                <a:schemeClr val="bg1"/>
              </a:solidFill>
            </a:endParaRPr>
          </a:p>
        </p:txBody>
      </p:sp>
      <p:pic>
        <p:nvPicPr>
          <p:cNvPr id="1026" name="Picture 2" descr="Using Dataiku for Retrieval Augmented Generation (RAG) - YouTube">
            <a:extLst>
              <a:ext uri="{FF2B5EF4-FFF2-40B4-BE49-F238E27FC236}">
                <a16:creationId xmlns:a16="http://schemas.microsoft.com/office/drawing/2014/main" id="{729FF700-11EE-E270-EBAB-E0539D4FD4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1" t="5421" r="4428"/>
          <a:stretch/>
        </p:blipFill>
        <p:spPr bwMode="auto">
          <a:xfrm>
            <a:off x="2033420" y="1355614"/>
            <a:ext cx="8229601" cy="486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09271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324152"/>
            <a:ext cx="10753834" cy="5262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Possible RAG architectures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8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ovéPole 3">
            <a:extLst>
              <a:ext uri="{FF2B5EF4-FFF2-40B4-BE49-F238E27FC236}">
                <a16:creationId xmlns:a16="http://schemas.microsoft.com/office/drawing/2014/main" id="{6F51A9BE-BCFB-7148-0358-E481059F5DC0}"/>
              </a:ext>
            </a:extLst>
          </p:cNvPr>
          <p:cNvSpPr txBox="1"/>
          <p:nvPr/>
        </p:nvSpPr>
        <p:spPr>
          <a:xfrm>
            <a:off x="965200" y="1801717"/>
            <a:ext cx="835464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Incorporating a </a:t>
            </a:r>
            <a:r>
              <a:rPr lang="en-US" sz="2000" b="1">
                <a:solidFill>
                  <a:schemeClr val="bg1"/>
                </a:solidFill>
              </a:rPr>
              <a:t>chatbot</a:t>
            </a:r>
            <a:r>
              <a:rPr lang="en-US" sz="2000">
                <a:solidFill>
                  <a:schemeClr val="bg1"/>
                </a:solidFill>
              </a:rPr>
              <a:t> -&gt; user can pose additional questions</a:t>
            </a:r>
            <a:br>
              <a:rPr lang="en-US" sz="2000">
                <a:solidFill>
                  <a:schemeClr val="bg1"/>
                </a:solidFill>
              </a:rPr>
            </a:br>
            <a:endParaRPr lang="en-US" sz="200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chemeClr val="bg1"/>
                </a:solidFill>
              </a:rPr>
              <a:t>Combining</a:t>
            </a:r>
            <a:r>
              <a:rPr lang="en-US" sz="2000">
                <a:solidFill>
                  <a:schemeClr val="bg1"/>
                </a:solidFill>
              </a:rPr>
              <a:t> types of retrievers: vector, BM25 lexical search, Azure Semantic </a:t>
            </a:r>
            <a:r>
              <a:rPr lang="en-US" sz="2000" err="1">
                <a:solidFill>
                  <a:schemeClr val="bg1"/>
                </a:solidFill>
              </a:rPr>
              <a:t>reranker</a:t>
            </a:r>
            <a:r>
              <a:rPr lang="en-US" sz="2000">
                <a:solidFill>
                  <a:schemeClr val="bg1"/>
                </a:solidFill>
              </a:rPr>
              <a:t>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Reformulating user question into </a:t>
            </a:r>
            <a:r>
              <a:rPr lang="en-US" sz="2000" b="1">
                <a:solidFill>
                  <a:schemeClr val="bg1"/>
                </a:solidFill>
              </a:rPr>
              <a:t>multiple quer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bg1"/>
                </a:solidFill>
              </a:rPr>
              <a:t>Increasing effectiveness by </a:t>
            </a:r>
            <a:r>
              <a:rPr lang="en-US" sz="2000" b="1">
                <a:solidFill>
                  <a:schemeClr val="bg1"/>
                </a:solidFill>
              </a:rPr>
              <a:t>caching</a:t>
            </a:r>
            <a:r>
              <a:rPr lang="en-US" sz="2000">
                <a:solidFill>
                  <a:schemeClr val="bg1"/>
                </a:solidFill>
              </a:rPr>
              <a:t> / </a:t>
            </a:r>
            <a:r>
              <a:rPr lang="en-US" sz="2000" b="1">
                <a:solidFill>
                  <a:schemeClr val="bg1"/>
                </a:solidFill>
              </a:rPr>
              <a:t>optimizing</a:t>
            </a:r>
            <a:r>
              <a:rPr lang="en-US" sz="2000">
                <a:solidFill>
                  <a:schemeClr val="bg1"/>
                </a:solidFill>
              </a:rPr>
              <a:t> the number of documents going into the LLM</a:t>
            </a:r>
          </a:p>
        </p:txBody>
      </p:sp>
    </p:spTree>
    <p:extLst>
      <p:ext uri="{BB962C8B-B14F-4D97-AF65-F5344CB8AC3E}">
        <p14:creationId xmlns:p14="http://schemas.microsoft.com/office/powerpoint/2010/main" val="41790248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Zaoblený obdélník 25">
            <a:extLst>
              <a:ext uri="{FF2B5EF4-FFF2-40B4-BE49-F238E27FC236}">
                <a16:creationId xmlns:a16="http://schemas.microsoft.com/office/drawing/2014/main" id="{3CA6C9A6-CC7A-0904-1D73-9FB42A545C90}"/>
              </a:ext>
            </a:extLst>
          </p:cNvPr>
          <p:cNvSpPr/>
          <p:nvPr/>
        </p:nvSpPr>
        <p:spPr>
          <a:xfrm>
            <a:off x="3170117" y="3069000"/>
            <a:ext cx="1440000" cy="720000"/>
          </a:xfrm>
          <a:prstGeom prst="roundRect">
            <a:avLst/>
          </a:prstGeom>
          <a:solidFill>
            <a:schemeClr val="lt1">
              <a:alpha val="0"/>
            </a:schemeClr>
          </a:solidFill>
          <a:ln w="158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Transform question (LLM)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9A2986B-EA3A-D52C-90DB-536EB7B49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RAG </a:t>
            </a:r>
            <a:r>
              <a:rPr lang="en-GB" err="1">
                <a:solidFill>
                  <a:schemeClr val="bg1"/>
                </a:solidFill>
              </a:rPr>
              <a:t>productionalization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49CDE7B-4F08-3E60-949A-811F75C9B2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t>9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Zaoblený obdélník 5">
            <a:extLst>
              <a:ext uri="{FF2B5EF4-FFF2-40B4-BE49-F238E27FC236}">
                <a16:creationId xmlns:a16="http://schemas.microsoft.com/office/drawing/2014/main" id="{EB9E5055-E557-B56B-74C2-6EE856FF22A1}"/>
              </a:ext>
            </a:extLst>
          </p:cNvPr>
          <p:cNvSpPr/>
          <p:nvPr/>
        </p:nvSpPr>
        <p:spPr>
          <a:xfrm>
            <a:off x="5349765" y="3103178"/>
            <a:ext cx="1440000" cy="720000"/>
          </a:xfrm>
          <a:prstGeom prst="roundRect">
            <a:avLst/>
          </a:prstGeom>
          <a:solidFill>
            <a:schemeClr val="lt1">
              <a:alpha val="0"/>
            </a:schemeClr>
          </a:solidFill>
          <a:ln w="158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Knowledge (search)</a:t>
            </a:r>
          </a:p>
        </p:txBody>
      </p:sp>
      <p:sp>
        <p:nvSpPr>
          <p:cNvPr id="7" name="Zaoblený obdélník 6">
            <a:extLst>
              <a:ext uri="{FF2B5EF4-FFF2-40B4-BE49-F238E27FC236}">
                <a16:creationId xmlns:a16="http://schemas.microsoft.com/office/drawing/2014/main" id="{BFB24BD6-F0FA-9D1A-C5E0-BA9BAF3AA761}"/>
              </a:ext>
            </a:extLst>
          </p:cNvPr>
          <p:cNvSpPr/>
          <p:nvPr/>
        </p:nvSpPr>
        <p:spPr>
          <a:xfrm>
            <a:off x="9340100" y="2027481"/>
            <a:ext cx="1440000" cy="720000"/>
          </a:xfrm>
          <a:prstGeom prst="roundRect">
            <a:avLst/>
          </a:prstGeom>
          <a:solidFill>
            <a:schemeClr val="lt1">
              <a:alpha val="0"/>
            </a:schemeClr>
          </a:solidFill>
          <a:ln w="15875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Formulate answer (LLM)</a:t>
            </a:r>
          </a:p>
        </p:txBody>
      </p:sp>
      <p:cxnSp>
        <p:nvCxnSpPr>
          <p:cNvPr id="11" name="Přímá spojovací šipka 10">
            <a:extLst>
              <a:ext uri="{FF2B5EF4-FFF2-40B4-BE49-F238E27FC236}">
                <a16:creationId xmlns:a16="http://schemas.microsoft.com/office/drawing/2014/main" id="{AF4FC060-CC03-E92F-CE8D-D8385DC009AD}"/>
              </a:ext>
            </a:extLst>
          </p:cNvPr>
          <p:cNvCxnSpPr>
            <a:cxnSpLocks/>
          </p:cNvCxnSpPr>
          <p:nvPr/>
        </p:nvCxnSpPr>
        <p:spPr>
          <a:xfrm>
            <a:off x="6789765" y="3463178"/>
            <a:ext cx="746069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Přímá spojovací šipka 13">
            <a:extLst>
              <a:ext uri="{FF2B5EF4-FFF2-40B4-BE49-F238E27FC236}">
                <a16:creationId xmlns:a16="http://schemas.microsoft.com/office/drawing/2014/main" id="{80ACC24A-BF35-6073-8C72-44664BC17441}"/>
              </a:ext>
            </a:extLst>
          </p:cNvPr>
          <p:cNvCxnSpPr>
            <a:cxnSpLocks/>
          </p:cNvCxnSpPr>
          <p:nvPr/>
        </p:nvCxnSpPr>
        <p:spPr>
          <a:xfrm>
            <a:off x="10894608" y="3462525"/>
            <a:ext cx="746069" cy="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Přímá spojovací šipka 17">
            <a:extLst>
              <a:ext uri="{FF2B5EF4-FFF2-40B4-BE49-F238E27FC236}">
                <a16:creationId xmlns:a16="http://schemas.microsoft.com/office/drawing/2014/main" id="{510E1CFF-8D3B-6519-F581-D51FF02DC22C}"/>
              </a:ext>
            </a:extLst>
          </p:cNvPr>
          <p:cNvCxnSpPr>
            <a:cxnSpLocks/>
          </p:cNvCxnSpPr>
          <p:nvPr/>
        </p:nvCxnSpPr>
        <p:spPr>
          <a:xfrm>
            <a:off x="4624899" y="3463178"/>
            <a:ext cx="724866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Přímá spojovací šipka 20">
            <a:extLst>
              <a:ext uri="{FF2B5EF4-FFF2-40B4-BE49-F238E27FC236}">
                <a16:creationId xmlns:a16="http://schemas.microsoft.com/office/drawing/2014/main" id="{ACF4F440-5013-3D0E-4AAF-538215A71FF5}"/>
              </a:ext>
            </a:extLst>
          </p:cNvPr>
          <p:cNvCxnSpPr>
            <a:cxnSpLocks/>
            <a:endCxn id="6" idx="2"/>
          </p:cNvCxnSpPr>
          <p:nvPr/>
        </p:nvCxnSpPr>
        <p:spPr>
          <a:xfrm flipV="1">
            <a:off x="6069765" y="3823178"/>
            <a:ext cx="0" cy="650581"/>
          </a:xfrm>
          <a:prstGeom prst="straightConnector1">
            <a:avLst/>
          </a:prstGeom>
          <a:ln w="1905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Přímá spojovací šipka 24">
            <a:extLst>
              <a:ext uri="{FF2B5EF4-FFF2-40B4-BE49-F238E27FC236}">
                <a16:creationId xmlns:a16="http://schemas.microsoft.com/office/drawing/2014/main" id="{EC591D05-0CBD-FB6C-8663-91572E7A435D}"/>
              </a:ext>
            </a:extLst>
          </p:cNvPr>
          <p:cNvCxnSpPr>
            <a:cxnSpLocks/>
          </p:cNvCxnSpPr>
          <p:nvPr/>
        </p:nvCxnSpPr>
        <p:spPr>
          <a:xfrm>
            <a:off x="2445251" y="3463178"/>
            <a:ext cx="724866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6" name="Skupina 55">
            <a:extLst>
              <a:ext uri="{FF2B5EF4-FFF2-40B4-BE49-F238E27FC236}">
                <a16:creationId xmlns:a16="http://schemas.microsoft.com/office/drawing/2014/main" id="{B70BE268-ED0F-7686-D3AA-799D33C2AB83}"/>
              </a:ext>
            </a:extLst>
          </p:cNvPr>
          <p:cNvGrpSpPr/>
          <p:nvPr/>
        </p:nvGrpSpPr>
        <p:grpSpPr>
          <a:xfrm>
            <a:off x="1121026" y="4975114"/>
            <a:ext cx="853776" cy="866015"/>
            <a:chOff x="1121026" y="4975114"/>
            <a:chExt cx="853776" cy="866015"/>
          </a:xfrm>
        </p:grpSpPr>
        <p:pic>
          <p:nvPicPr>
            <p:cNvPr id="41" name="Grafický objekt 40">
              <a:extLst>
                <a:ext uri="{FF2B5EF4-FFF2-40B4-BE49-F238E27FC236}">
                  <a16:creationId xmlns:a16="http://schemas.microsoft.com/office/drawing/2014/main" id="{2FFBED03-644E-4AB0-DB8F-136862249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14802" y="4975114"/>
              <a:ext cx="360000" cy="360000"/>
            </a:xfrm>
            <a:prstGeom prst="rect">
              <a:avLst/>
            </a:prstGeom>
          </p:spPr>
        </p:pic>
        <p:pic>
          <p:nvPicPr>
            <p:cNvPr id="43" name="Grafický objekt 42">
              <a:extLst>
                <a:ext uri="{FF2B5EF4-FFF2-40B4-BE49-F238E27FC236}">
                  <a16:creationId xmlns:a16="http://schemas.microsoft.com/office/drawing/2014/main" id="{480C4D68-EDDD-17CC-98FA-ECC540154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21026" y="5481129"/>
              <a:ext cx="360000" cy="360000"/>
            </a:xfrm>
            <a:prstGeom prst="rect">
              <a:avLst/>
            </a:prstGeom>
          </p:spPr>
        </p:pic>
        <p:pic>
          <p:nvPicPr>
            <p:cNvPr id="45" name="Grafický objekt 44">
              <a:extLst>
                <a:ext uri="{FF2B5EF4-FFF2-40B4-BE49-F238E27FC236}">
                  <a16:creationId xmlns:a16="http://schemas.microsoft.com/office/drawing/2014/main" id="{2EF7B1E4-B922-9137-ED34-4A902D442B0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614802" y="5481129"/>
              <a:ext cx="360000" cy="360000"/>
            </a:xfrm>
            <a:prstGeom prst="rect">
              <a:avLst/>
            </a:prstGeom>
          </p:spPr>
        </p:pic>
        <p:pic>
          <p:nvPicPr>
            <p:cNvPr id="47" name="Grafický objekt 46">
              <a:extLst>
                <a:ext uri="{FF2B5EF4-FFF2-40B4-BE49-F238E27FC236}">
                  <a16:creationId xmlns:a16="http://schemas.microsoft.com/office/drawing/2014/main" id="{EEAAF6F2-8343-1945-64E5-C0DD6F2B8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121026" y="4975114"/>
              <a:ext cx="360000" cy="360000"/>
            </a:xfrm>
            <a:prstGeom prst="rect">
              <a:avLst/>
            </a:prstGeom>
          </p:spPr>
        </p:pic>
      </p:grpSp>
      <p:sp>
        <p:nvSpPr>
          <p:cNvPr id="48" name="Zaoblený obdélník 47">
            <a:extLst>
              <a:ext uri="{FF2B5EF4-FFF2-40B4-BE49-F238E27FC236}">
                <a16:creationId xmlns:a16="http://schemas.microsoft.com/office/drawing/2014/main" id="{4C481299-C78F-8495-83BD-4F259ECF86D0}"/>
              </a:ext>
            </a:extLst>
          </p:cNvPr>
          <p:cNvSpPr/>
          <p:nvPr/>
        </p:nvSpPr>
        <p:spPr>
          <a:xfrm>
            <a:off x="2583060" y="5189315"/>
            <a:ext cx="877455" cy="437613"/>
          </a:xfrm>
          <a:prstGeom prst="roundRect">
            <a:avLst/>
          </a:prstGeom>
          <a:noFill/>
          <a:ln w="15875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rgbClr val="0070C0"/>
                </a:solidFill>
              </a:rPr>
              <a:t>Get</a:t>
            </a:r>
          </a:p>
        </p:txBody>
      </p:sp>
      <p:sp>
        <p:nvSpPr>
          <p:cNvPr id="54" name="Zaoblený obdélník 53">
            <a:extLst>
              <a:ext uri="{FF2B5EF4-FFF2-40B4-BE49-F238E27FC236}">
                <a16:creationId xmlns:a16="http://schemas.microsoft.com/office/drawing/2014/main" id="{FE819FAB-7F46-732E-ED34-49DAC8F1BE03}"/>
              </a:ext>
            </a:extLst>
          </p:cNvPr>
          <p:cNvSpPr/>
          <p:nvPr/>
        </p:nvSpPr>
        <p:spPr>
          <a:xfrm>
            <a:off x="4073391" y="5189315"/>
            <a:ext cx="877455" cy="437613"/>
          </a:xfrm>
          <a:prstGeom prst="roundRect">
            <a:avLst/>
          </a:prstGeom>
          <a:noFill/>
          <a:ln w="15875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rgbClr val="0070C0"/>
                </a:solidFill>
              </a:rPr>
              <a:t>Unify</a:t>
            </a:r>
          </a:p>
        </p:txBody>
      </p:sp>
      <p:sp>
        <p:nvSpPr>
          <p:cNvPr id="55" name="Zaoblený obdélník 54">
            <a:extLst>
              <a:ext uri="{FF2B5EF4-FFF2-40B4-BE49-F238E27FC236}">
                <a16:creationId xmlns:a16="http://schemas.microsoft.com/office/drawing/2014/main" id="{5EC7A06C-B683-0380-A737-068643920A85}"/>
              </a:ext>
            </a:extLst>
          </p:cNvPr>
          <p:cNvSpPr/>
          <p:nvPr/>
        </p:nvSpPr>
        <p:spPr>
          <a:xfrm>
            <a:off x="5539901" y="5189315"/>
            <a:ext cx="1059727" cy="437613"/>
          </a:xfrm>
          <a:prstGeom prst="roundRect">
            <a:avLst/>
          </a:prstGeom>
          <a:noFill/>
          <a:ln w="15875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rgbClr val="0070C0"/>
                </a:solidFill>
              </a:rPr>
              <a:t>Should update?</a:t>
            </a:r>
          </a:p>
        </p:txBody>
      </p:sp>
      <p:sp>
        <p:nvSpPr>
          <p:cNvPr id="57" name="Zaoblený obdélník 56">
            <a:extLst>
              <a:ext uri="{FF2B5EF4-FFF2-40B4-BE49-F238E27FC236}">
                <a16:creationId xmlns:a16="http://schemas.microsoft.com/office/drawing/2014/main" id="{C6747EC3-103B-33CB-B0E8-4546188D618A}"/>
              </a:ext>
            </a:extLst>
          </p:cNvPr>
          <p:cNvSpPr/>
          <p:nvPr/>
        </p:nvSpPr>
        <p:spPr>
          <a:xfrm>
            <a:off x="5539900" y="4473759"/>
            <a:ext cx="1059727" cy="437613"/>
          </a:xfrm>
          <a:prstGeom prst="roundRect">
            <a:avLst/>
          </a:prstGeom>
          <a:noFill/>
          <a:ln w="15875">
            <a:solidFill>
              <a:srgbClr val="D506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rgbClr val="D50605"/>
                </a:solidFill>
              </a:rPr>
              <a:t>Automatic test</a:t>
            </a:r>
          </a:p>
        </p:txBody>
      </p:sp>
      <p:cxnSp>
        <p:nvCxnSpPr>
          <p:cNvPr id="58" name="Přímá spojovací šipka 57">
            <a:extLst>
              <a:ext uri="{FF2B5EF4-FFF2-40B4-BE49-F238E27FC236}">
                <a16:creationId xmlns:a16="http://schemas.microsoft.com/office/drawing/2014/main" id="{6A6120AB-599D-3B3C-57DD-0828906B0048}"/>
              </a:ext>
            </a:extLst>
          </p:cNvPr>
          <p:cNvCxnSpPr>
            <a:cxnSpLocks/>
            <a:endCxn id="48" idx="1"/>
          </p:cNvCxnSpPr>
          <p:nvPr/>
        </p:nvCxnSpPr>
        <p:spPr>
          <a:xfrm>
            <a:off x="1974802" y="5408122"/>
            <a:ext cx="608258" cy="0"/>
          </a:xfrm>
          <a:prstGeom prst="straightConnector1">
            <a:avLst/>
          </a:prstGeom>
          <a:ln w="1905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Přímá spojovací šipka 60">
            <a:extLst>
              <a:ext uri="{FF2B5EF4-FFF2-40B4-BE49-F238E27FC236}">
                <a16:creationId xmlns:a16="http://schemas.microsoft.com/office/drawing/2014/main" id="{D914D40D-611E-6B54-FA83-679505853E9B}"/>
              </a:ext>
            </a:extLst>
          </p:cNvPr>
          <p:cNvCxnSpPr>
            <a:cxnSpLocks/>
            <a:stCxn id="48" idx="3"/>
            <a:endCxn id="54" idx="1"/>
          </p:cNvCxnSpPr>
          <p:nvPr/>
        </p:nvCxnSpPr>
        <p:spPr>
          <a:xfrm>
            <a:off x="3460515" y="5408122"/>
            <a:ext cx="612876" cy="0"/>
          </a:xfrm>
          <a:prstGeom prst="straightConnector1">
            <a:avLst/>
          </a:prstGeom>
          <a:ln w="1905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Přímá spojovací šipka 63">
            <a:extLst>
              <a:ext uri="{FF2B5EF4-FFF2-40B4-BE49-F238E27FC236}">
                <a16:creationId xmlns:a16="http://schemas.microsoft.com/office/drawing/2014/main" id="{3C888991-5271-9F23-1D78-3E05FD295124}"/>
              </a:ext>
            </a:extLst>
          </p:cNvPr>
          <p:cNvCxnSpPr>
            <a:cxnSpLocks/>
            <a:stCxn id="54" idx="3"/>
            <a:endCxn id="55" idx="1"/>
          </p:cNvCxnSpPr>
          <p:nvPr/>
        </p:nvCxnSpPr>
        <p:spPr>
          <a:xfrm>
            <a:off x="4950846" y="5408122"/>
            <a:ext cx="589055" cy="0"/>
          </a:xfrm>
          <a:prstGeom prst="straightConnector1">
            <a:avLst/>
          </a:prstGeom>
          <a:ln w="1905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Zaoblený obdélník 3">
            <a:extLst>
              <a:ext uri="{FF2B5EF4-FFF2-40B4-BE49-F238E27FC236}">
                <a16:creationId xmlns:a16="http://schemas.microsoft.com/office/drawing/2014/main" id="{F8417586-904F-5374-C7E4-859F4AC1D28D}"/>
              </a:ext>
            </a:extLst>
          </p:cNvPr>
          <p:cNvSpPr/>
          <p:nvPr/>
        </p:nvSpPr>
        <p:spPr>
          <a:xfrm>
            <a:off x="1552508" y="3237840"/>
            <a:ext cx="877455" cy="437613"/>
          </a:xfrm>
          <a:prstGeom prst="round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rgbClr val="00B050"/>
                </a:solidFill>
              </a:rPr>
              <a:t>User management</a:t>
            </a:r>
          </a:p>
        </p:txBody>
      </p:sp>
      <p:cxnSp>
        <p:nvCxnSpPr>
          <p:cNvPr id="67" name="Přímá spojovací šipka 66">
            <a:extLst>
              <a:ext uri="{FF2B5EF4-FFF2-40B4-BE49-F238E27FC236}">
                <a16:creationId xmlns:a16="http://schemas.microsoft.com/office/drawing/2014/main" id="{33448229-3E49-DF4B-B292-69404507ECB9}"/>
              </a:ext>
            </a:extLst>
          </p:cNvPr>
          <p:cNvCxnSpPr>
            <a:cxnSpLocks/>
            <a:stCxn id="55" idx="0"/>
            <a:endCxn id="57" idx="2"/>
          </p:cNvCxnSpPr>
          <p:nvPr/>
        </p:nvCxnSpPr>
        <p:spPr>
          <a:xfrm flipH="1" flipV="1">
            <a:off x="6069764" y="4911372"/>
            <a:ext cx="1" cy="277943"/>
          </a:xfrm>
          <a:prstGeom prst="straightConnector1">
            <a:avLst/>
          </a:prstGeom>
          <a:ln w="1905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7" name="TextovéPole 76">
            <a:extLst>
              <a:ext uri="{FF2B5EF4-FFF2-40B4-BE49-F238E27FC236}">
                <a16:creationId xmlns:a16="http://schemas.microsoft.com/office/drawing/2014/main" id="{82CFCB57-7CF9-7D8C-024A-2EA426C4DB17}"/>
              </a:ext>
            </a:extLst>
          </p:cNvPr>
          <p:cNvSpPr txBox="1"/>
          <p:nvPr/>
        </p:nvSpPr>
        <p:spPr>
          <a:xfrm>
            <a:off x="29876" y="3261110"/>
            <a:ext cx="7977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What is the price?</a:t>
            </a:r>
          </a:p>
        </p:txBody>
      </p:sp>
      <p:cxnSp>
        <p:nvCxnSpPr>
          <p:cNvPr id="5" name="Přímá spojovací šipka 4">
            <a:extLst>
              <a:ext uri="{FF2B5EF4-FFF2-40B4-BE49-F238E27FC236}">
                <a16:creationId xmlns:a16="http://schemas.microsoft.com/office/drawing/2014/main" id="{81FDEFD8-440F-97CD-35D0-AD59118BAD6B}"/>
              </a:ext>
            </a:extLst>
          </p:cNvPr>
          <p:cNvCxnSpPr>
            <a:cxnSpLocks/>
          </p:cNvCxnSpPr>
          <p:nvPr/>
        </p:nvCxnSpPr>
        <p:spPr>
          <a:xfrm>
            <a:off x="827642" y="3463178"/>
            <a:ext cx="724866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Zaoblený obdélník 7">
            <a:extLst>
              <a:ext uri="{FF2B5EF4-FFF2-40B4-BE49-F238E27FC236}">
                <a16:creationId xmlns:a16="http://schemas.microsoft.com/office/drawing/2014/main" id="{BB335F8D-70D3-177C-3C22-EE80293B0F45}"/>
              </a:ext>
            </a:extLst>
          </p:cNvPr>
          <p:cNvSpPr/>
          <p:nvPr/>
        </p:nvSpPr>
        <p:spPr>
          <a:xfrm>
            <a:off x="9374994" y="4131786"/>
            <a:ext cx="1440000" cy="720000"/>
          </a:xfrm>
          <a:prstGeom prst="roundRect">
            <a:avLst/>
          </a:prstGeom>
          <a:solidFill>
            <a:schemeClr val="lt1">
              <a:alpha val="0"/>
            </a:schemeClr>
          </a:solidFill>
          <a:ln w="15875">
            <a:solidFill>
              <a:srgbClr val="7030A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rgbClr val="7030A0"/>
                </a:solidFill>
              </a:rPr>
              <a:t>Formulate answer (LLM)</a:t>
            </a:r>
          </a:p>
        </p:txBody>
      </p:sp>
      <p:sp>
        <p:nvSpPr>
          <p:cNvPr id="12" name="Zaoblený obdélník 11">
            <a:extLst>
              <a:ext uri="{FF2B5EF4-FFF2-40B4-BE49-F238E27FC236}">
                <a16:creationId xmlns:a16="http://schemas.microsoft.com/office/drawing/2014/main" id="{721642A2-C665-FD49-69A5-6C8B286FAFBB}"/>
              </a:ext>
            </a:extLst>
          </p:cNvPr>
          <p:cNvSpPr/>
          <p:nvPr/>
        </p:nvSpPr>
        <p:spPr>
          <a:xfrm>
            <a:off x="7543072" y="3237840"/>
            <a:ext cx="1059727" cy="437613"/>
          </a:xfrm>
          <a:prstGeom prst="round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rgbClr val="00B050"/>
                </a:solidFill>
              </a:rPr>
              <a:t>Load balancing</a:t>
            </a:r>
          </a:p>
        </p:txBody>
      </p:sp>
      <p:cxnSp>
        <p:nvCxnSpPr>
          <p:cNvPr id="13" name="Přímá spojovací šipka 12">
            <a:extLst>
              <a:ext uri="{FF2B5EF4-FFF2-40B4-BE49-F238E27FC236}">
                <a16:creationId xmlns:a16="http://schemas.microsoft.com/office/drawing/2014/main" id="{DA223628-E40A-FA4A-59A2-8D1CDEEA6CBC}"/>
              </a:ext>
            </a:extLst>
          </p:cNvPr>
          <p:cNvCxnSpPr>
            <a:cxnSpLocks/>
            <a:stCxn id="12" idx="3"/>
            <a:endCxn id="7" idx="1"/>
          </p:cNvCxnSpPr>
          <p:nvPr/>
        </p:nvCxnSpPr>
        <p:spPr>
          <a:xfrm flipV="1">
            <a:off x="8602799" y="2387481"/>
            <a:ext cx="737301" cy="1069166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Přímá spojovací šipka 15">
            <a:extLst>
              <a:ext uri="{FF2B5EF4-FFF2-40B4-BE49-F238E27FC236}">
                <a16:creationId xmlns:a16="http://schemas.microsoft.com/office/drawing/2014/main" id="{B917B134-3E5A-49EF-328D-1FAEC92D4C7A}"/>
              </a:ext>
            </a:extLst>
          </p:cNvPr>
          <p:cNvCxnSpPr>
            <a:cxnSpLocks/>
            <a:stCxn id="12" idx="3"/>
            <a:endCxn id="8" idx="1"/>
          </p:cNvCxnSpPr>
          <p:nvPr/>
        </p:nvCxnSpPr>
        <p:spPr>
          <a:xfrm>
            <a:off x="8602799" y="3456647"/>
            <a:ext cx="772195" cy="1035139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Přímá spojovací šipka 27">
            <a:extLst>
              <a:ext uri="{FF2B5EF4-FFF2-40B4-BE49-F238E27FC236}">
                <a16:creationId xmlns:a16="http://schemas.microsoft.com/office/drawing/2014/main" id="{816CF097-D1E7-9A57-CCCA-A9D4651DB7F7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10814994" y="3463178"/>
            <a:ext cx="746281" cy="1028608"/>
          </a:xfrm>
          <a:prstGeom prst="straightConnector1">
            <a:avLst/>
          </a:prstGeom>
          <a:ln w="19050">
            <a:solidFill>
              <a:schemeClr val="bg1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Přímá spojovací šipka 31">
            <a:extLst>
              <a:ext uri="{FF2B5EF4-FFF2-40B4-BE49-F238E27FC236}">
                <a16:creationId xmlns:a16="http://schemas.microsoft.com/office/drawing/2014/main" id="{A3DFFE7E-47C0-62E2-71CC-5B5F007CFC02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10780100" y="2387481"/>
            <a:ext cx="781175" cy="1041519"/>
          </a:xfrm>
          <a:prstGeom prst="straightConnector1">
            <a:avLst/>
          </a:prstGeom>
          <a:ln w="19050">
            <a:solidFill>
              <a:schemeClr val="bg1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Přímá spojovací šipka 33">
            <a:extLst>
              <a:ext uri="{FF2B5EF4-FFF2-40B4-BE49-F238E27FC236}">
                <a16:creationId xmlns:a16="http://schemas.microsoft.com/office/drawing/2014/main" id="{01B922F7-08E8-A28F-1E97-F159B86CB5C9}"/>
              </a:ext>
            </a:extLst>
          </p:cNvPr>
          <p:cNvCxnSpPr>
            <a:cxnSpLocks/>
          </p:cNvCxnSpPr>
          <p:nvPr/>
        </p:nvCxnSpPr>
        <p:spPr>
          <a:xfrm>
            <a:off x="8628925" y="3459837"/>
            <a:ext cx="746069" cy="1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Zaoblený obdélník 14">
            <a:extLst>
              <a:ext uri="{FF2B5EF4-FFF2-40B4-BE49-F238E27FC236}">
                <a16:creationId xmlns:a16="http://schemas.microsoft.com/office/drawing/2014/main" id="{1CB55F23-C281-7255-332C-5D90069102DA}"/>
              </a:ext>
            </a:extLst>
          </p:cNvPr>
          <p:cNvSpPr/>
          <p:nvPr/>
        </p:nvSpPr>
        <p:spPr>
          <a:xfrm>
            <a:off x="4043900" y="3243417"/>
            <a:ext cx="877455" cy="437613"/>
          </a:xfrm>
          <a:prstGeom prst="roundRect">
            <a:avLst/>
          </a:prstGeom>
          <a:noFill/>
          <a:ln w="158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>
                <a:solidFill>
                  <a:srgbClr val="00B050"/>
                </a:solidFill>
              </a:rPr>
              <a:t>Caching</a:t>
            </a:r>
            <a:endParaRPr lang="en-US" sz="800">
              <a:solidFill>
                <a:srgbClr val="00B050"/>
              </a:solidFill>
            </a:endParaRPr>
          </a:p>
        </p:txBody>
      </p:sp>
      <p:cxnSp>
        <p:nvCxnSpPr>
          <p:cNvPr id="22" name="Přímá spojovací šipka 21">
            <a:extLst>
              <a:ext uri="{FF2B5EF4-FFF2-40B4-BE49-F238E27FC236}">
                <a16:creationId xmlns:a16="http://schemas.microsoft.com/office/drawing/2014/main" id="{060E7388-1139-3BBC-1698-E96F4B81BB93}"/>
              </a:ext>
            </a:extLst>
          </p:cNvPr>
          <p:cNvCxnSpPr>
            <a:cxnSpLocks/>
            <a:stCxn id="15" idx="3"/>
            <a:endCxn id="6" idx="1"/>
          </p:cNvCxnSpPr>
          <p:nvPr/>
        </p:nvCxnSpPr>
        <p:spPr>
          <a:xfrm>
            <a:off x="4921355" y="3462224"/>
            <a:ext cx="428410" cy="954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Přímá spojovací šipka 23">
            <a:extLst>
              <a:ext uri="{FF2B5EF4-FFF2-40B4-BE49-F238E27FC236}">
                <a16:creationId xmlns:a16="http://schemas.microsoft.com/office/drawing/2014/main" id="{BBBE621F-F873-702E-7011-EDB47B2A3EF6}"/>
              </a:ext>
            </a:extLst>
          </p:cNvPr>
          <p:cNvCxnSpPr>
            <a:cxnSpLocks/>
          </p:cNvCxnSpPr>
          <p:nvPr/>
        </p:nvCxnSpPr>
        <p:spPr>
          <a:xfrm>
            <a:off x="3667027" y="3468550"/>
            <a:ext cx="378129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Přímá spojovací šipka 32">
            <a:extLst>
              <a:ext uri="{FF2B5EF4-FFF2-40B4-BE49-F238E27FC236}">
                <a16:creationId xmlns:a16="http://schemas.microsoft.com/office/drawing/2014/main" id="{DF395034-FC23-AAE8-1C14-69DB29D5F943}"/>
              </a:ext>
            </a:extLst>
          </p:cNvPr>
          <p:cNvCxnSpPr>
            <a:cxnSpLocks/>
          </p:cNvCxnSpPr>
          <p:nvPr/>
        </p:nvCxnSpPr>
        <p:spPr>
          <a:xfrm>
            <a:off x="836123" y="3463837"/>
            <a:ext cx="205539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Přímá spojovací šipka 37">
            <a:extLst>
              <a:ext uri="{FF2B5EF4-FFF2-40B4-BE49-F238E27FC236}">
                <a16:creationId xmlns:a16="http://schemas.microsoft.com/office/drawing/2014/main" id="{B1349846-2DA5-6BBD-CDF9-84E519B7D7FB}"/>
              </a:ext>
            </a:extLst>
          </p:cNvPr>
          <p:cNvCxnSpPr>
            <a:cxnSpLocks/>
          </p:cNvCxnSpPr>
          <p:nvPr/>
        </p:nvCxnSpPr>
        <p:spPr>
          <a:xfrm>
            <a:off x="1932495" y="3459837"/>
            <a:ext cx="287517" cy="0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Pravoúhlá spojnice 45">
            <a:extLst>
              <a:ext uri="{FF2B5EF4-FFF2-40B4-BE49-F238E27FC236}">
                <a16:creationId xmlns:a16="http://schemas.microsoft.com/office/drawing/2014/main" id="{60227634-2628-720F-8676-330E01A57830}"/>
              </a:ext>
            </a:extLst>
          </p:cNvPr>
          <p:cNvCxnSpPr>
            <a:cxnSpLocks/>
            <a:stCxn id="15" idx="0"/>
          </p:cNvCxnSpPr>
          <p:nvPr/>
        </p:nvCxnSpPr>
        <p:spPr>
          <a:xfrm rot="5400000" flipH="1" flipV="1">
            <a:off x="8171207" y="-463850"/>
            <a:ext cx="18688" cy="7395846"/>
          </a:xfrm>
          <a:prstGeom prst="bentConnector3">
            <a:avLst>
              <a:gd name="adj1" fmla="val 7752387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Zaoblený obdélník 67">
            <a:extLst>
              <a:ext uri="{FF2B5EF4-FFF2-40B4-BE49-F238E27FC236}">
                <a16:creationId xmlns:a16="http://schemas.microsoft.com/office/drawing/2014/main" id="{CE90E245-111C-E3C1-24B8-607F908EE5AA}"/>
              </a:ext>
            </a:extLst>
          </p:cNvPr>
          <p:cNvSpPr/>
          <p:nvPr/>
        </p:nvSpPr>
        <p:spPr>
          <a:xfrm>
            <a:off x="542260" y="6047625"/>
            <a:ext cx="10834577" cy="506892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GUI, UX, integration, others</a:t>
            </a:r>
          </a:p>
        </p:txBody>
      </p:sp>
      <p:pic>
        <p:nvPicPr>
          <p:cNvPr id="19" name="Graphic 18" descr="Subtitles outline">
            <a:extLst>
              <a:ext uri="{FF2B5EF4-FFF2-40B4-BE49-F238E27FC236}">
                <a16:creationId xmlns:a16="http://schemas.microsoft.com/office/drawing/2014/main" id="{50CA301A-D735-02C2-858D-416079F8B1B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591320" y="3162440"/>
            <a:ext cx="626560" cy="626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971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0 L -0.07747 0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80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4.81481E-6 L -0.0418 -0.00047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96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4" grpId="0" animBg="1"/>
      <p:bldP spid="15" grpId="0" animBg="1"/>
      <p:bldP spid="6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pZ2lu1T.2H74rN2Rnb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IjNkrNT_iMBMNIr5Y7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pZ2lu1T.2H74rN2Rn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IjNkrNT_iMBMNIr5Y7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0">
      <a:dk1>
        <a:srgbClr val="15153A"/>
      </a:dk1>
      <a:lt1>
        <a:sysClr val="window" lastClr="FFFFFF"/>
      </a:lt1>
      <a:dk2>
        <a:srgbClr val="15153A"/>
      </a:dk2>
      <a:lt2>
        <a:srgbClr val="E7E6E6"/>
      </a:lt2>
      <a:accent1>
        <a:srgbClr val="41B6E6"/>
      </a:accent1>
      <a:accent2>
        <a:srgbClr val="0019A5"/>
      </a:accent2>
      <a:accent3>
        <a:srgbClr val="15153A"/>
      </a:accent3>
      <a:accent4>
        <a:srgbClr val="E6E6E6"/>
      </a:accent4>
      <a:accent5>
        <a:srgbClr val="FFFFFF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5">
      <a:majorFont>
        <a:latin typeface="Bai Jamjuree bold"/>
        <a:ea typeface=""/>
        <a:cs typeface=""/>
      </a:majorFont>
      <a:minorFont>
        <a:latin typeface="Bai Jamjur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0" id="{D5523DF9-1282-4051-823E-401BCDCA8F69}" vid="{2C1D8EC0-E578-438D-BDF9-0BCF0F217950}"/>
    </a:ext>
  </a:extLst>
</a:theme>
</file>

<file path=ppt/theme/theme2.xml><?xml version="1.0" encoding="utf-8"?>
<a:theme xmlns:a="http://schemas.openxmlformats.org/drawingml/2006/main" name="1_Office Theme">
  <a:themeElements>
    <a:clrScheme name="Custom 10">
      <a:dk1>
        <a:srgbClr val="15153A"/>
      </a:dk1>
      <a:lt1>
        <a:sysClr val="window" lastClr="FFFFFF"/>
      </a:lt1>
      <a:dk2>
        <a:srgbClr val="15153A"/>
      </a:dk2>
      <a:lt2>
        <a:srgbClr val="E7E6E6"/>
      </a:lt2>
      <a:accent1>
        <a:srgbClr val="41B6E6"/>
      </a:accent1>
      <a:accent2>
        <a:srgbClr val="0019A5"/>
      </a:accent2>
      <a:accent3>
        <a:srgbClr val="15153A"/>
      </a:accent3>
      <a:accent4>
        <a:srgbClr val="E6E6E6"/>
      </a:accent4>
      <a:accent5>
        <a:srgbClr val="FFFFFF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5">
      <a:majorFont>
        <a:latin typeface="Bai Jamjuree bold"/>
        <a:ea typeface=""/>
        <a:cs typeface=""/>
      </a:majorFont>
      <a:minorFont>
        <a:latin typeface="Bai Jamjur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MO_prezentace_legal.potx" id="{9F1E6B58-F9BA-45A3-99AE-F309F57D6894}" vid="{9EA0B39D-1465-460D-BE47-BE89533D3F1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CC85BA4EE03A45A34C9EE0AD22ED10" ma:contentTypeVersion="15" ma:contentTypeDescription="Create a new document." ma:contentTypeScope="" ma:versionID="8ab6ad3aa30f55a4702200e8657326b8">
  <xsd:schema xmlns:xsd="http://www.w3.org/2001/XMLSchema" xmlns:xs="http://www.w3.org/2001/XMLSchema" xmlns:p="http://schemas.microsoft.com/office/2006/metadata/properties" xmlns:ns3="80abb4cf-a192-4693-8080-fcf1c4f2ec70" xmlns:ns4="41817476-9e2e-41f8-991f-1ae3d057dc9f" targetNamespace="http://schemas.microsoft.com/office/2006/metadata/properties" ma:root="true" ma:fieldsID="16d118c09d5a57d18751525347422125" ns3:_="" ns4:_="">
    <xsd:import namespace="80abb4cf-a192-4693-8080-fcf1c4f2ec70"/>
    <xsd:import namespace="41817476-9e2e-41f8-991f-1ae3d057dc9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bjectDetectorVersion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ystemTags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abb4cf-a192-4693-8080-fcf1c4f2ec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ystemTags" ma:index="20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817476-9e2e-41f8-991f-1ae3d057dc9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80abb4cf-a192-4693-8080-fcf1c4f2ec7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A750390-18B9-4F77-8F4F-BA335BE336C7}">
  <ds:schemaRefs>
    <ds:schemaRef ds:uri="41817476-9e2e-41f8-991f-1ae3d057dc9f"/>
    <ds:schemaRef ds:uri="80abb4cf-a192-4693-8080-fcf1c4f2ec7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C98D868-6B2C-47F9-89D2-D5B3D859909D}">
  <ds:schemaRefs>
    <ds:schemaRef ds:uri="http://purl.org/dc/terms/"/>
    <ds:schemaRef ds:uri="80abb4cf-a192-4693-8080-fcf1c4f2ec70"/>
    <ds:schemaRef ds:uri="http://purl.org/dc/elements/1.1/"/>
    <ds:schemaRef ds:uri="http://schemas.microsoft.com/office/2006/metadata/properties"/>
    <ds:schemaRef ds:uri="41817476-9e2e-41f8-991f-1ae3d057dc9f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0B36048-15F6-4A91-AE3B-75EC80BD745D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6f8a142f-f8e1-47f5-bdab-718b4b85da93}" enabled="1" method="Standard" siteId="{b287c0b1-6968-4dc8-9732-8d00f2760e8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Words>990</Words>
  <Application>Microsoft Office PowerPoint</Application>
  <PresentationFormat>Widescreen</PresentationFormat>
  <Paragraphs>265</Paragraphs>
  <Slides>26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Calibri,Sans-Serif</vt:lpstr>
      <vt:lpstr>Courier New</vt:lpstr>
      <vt:lpstr>Bai Jamjuree bold</vt:lpstr>
      <vt:lpstr>Bai Jamjuree Light</vt:lpstr>
      <vt:lpstr>Arial</vt:lpstr>
      <vt:lpstr>Arial,Sans-Serif</vt:lpstr>
      <vt:lpstr>Wingdings</vt:lpstr>
      <vt:lpstr>Bai Jamjuree</vt:lpstr>
      <vt:lpstr>Calibri</vt:lpstr>
      <vt:lpstr>Montserrat</vt:lpstr>
      <vt:lpstr>Office Theme</vt:lpstr>
      <vt:lpstr>1_Office Theme</vt:lpstr>
      <vt:lpstr>think-cell Slide</vt:lpstr>
      <vt:lpstr>Automated Evaluation of LLM based systems</vt:lpstr>
      <vt:lpstr>What to expect?</vt:lpstr>
      <vt:lpstr>Expected takeaways from the workshop</vt:lpstr>
      <vt:lpstr>Timeline of the workshop</vt:lpstr>
      <vt:lpstr>1. Retrieval-Augmented Generation (RAG)</vt:lpstr>
      <vt:lpstr>How to overcome knowledge limitation of pretrained models?</vt:lpstr>
      <vt:lpstr>What is RAG?</vt:lpstr>
      <vt:lpstr>Possible RAG architectures</vt:lpstr>
      <vt:lpstr>RAG productionalization</vt:lpstr>
      <vt:lpstr>Limitations of RAG methodology</vt:lpstr>
      <vt:lpstr>Practical session:   Hands on experience with RAG</vt:lpstr>
      <vt:lpstr>2. Why evaluation accuracy is crucial</vt:lpstr>
      <vt:lpstr>It is difficult to optimize LLM systems</vt:lpstr>
      <vt:lpstr>What is necessary for proper evaluation</vt:lpstr>
      <vt:lpstr>What is necessary for proper evaluation</vt:lpstr>
      <vt:lpstr>Practical session:   Optimization with manual eval</vt:lpstr>
      <vt:lpstr>3. Automating RAG evaluation</vt:lpstr>
      <vt:lpstr>Benchmark: Expert human labels</vt:lpstr>
      <vt:lpstr>Creating evaluation pipeline</vt:lpstr>
      <vt:lpstr>Creating evaluation pipeline</vt:lpstr>
      <vt:lpstr>When to trigger </vt:lpstr>
      <vt:lpstr>Practical session:   Automating evaluation</vt:lpstr>
      <vt:lpstr>3. Automating RAG evaluation</vt:lpstr>
      <vt:lpstr>Possible optimization of RAG system</vt:lpstr>
      <vt:lpstr>Practical session:   RAG optimization with automated evalu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CLAIR PPT TEMPLATE</dc:title>
  <dc:creator>Petr Hirš</dc:creator>
  <cp:lastModifiedBy>Ondřej Finke</cp:lastModifiedBy>
  <cp:revision>3</cp:revision>
  <dcterms:created xsi:type="dcterms:W3CDTF">2021-02-25T10:17:45Z</dcterms:created>
  <dcterms:modified xsi:type="dcterms:W3CDTF">2024-04-24T07:2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f8a142f-f8e1-47f5-bdab-718b4b85da93_SetDate">
    <vt:lpwstr>2023-02-09T09:11:07Z</vt:lpwstr>
  </property>
  <property fmtid="{D5CDD505-2E9C-101B-9397-08002B2CF9AE}" pid="3" name="MSIP_Label_6f8a142f-f8e1-47f5-bdab-718b4b85da93_Name">
    <vt:lpwstr>SEC-C_ReLabel</vt:lpwstr>
  </property>
  <property fmtid="{D5CDD505-2E9C-101B-9397-08002B2CF9AE}" pid="4" name="MSIP_Label_6f8a142f-f8e1-47f5-bdab-718b4b85da93_ActionId">
    <vt:lpwstr>096269be-44ff-40cf-93d9-9f6684c43728</vt:lpwstr>
  </property>
  <property fmtid="{D5CDD505-2E9C-101B-9397-08002B2CF9AE}" pid="5" name="MSIP_Label_6f8a142f-f8e1-47f5-bdab-718b4b85da93_SiteId">
    <vt:lpwstr>b287c0b1-6968-4dc8-9732-8d00f2760e89</vt:lpwstr>
  </property>
  <property fmtid="{D5CDD505-2E9C-101B-9397-08002B2CF9AE}" pid="6" name="MSIP_Label_6f8a142f-f8e1-47f5-bdab-718b4b85da93_Method">
    <vt:lpwstr>Standard</vt:lpwstr>
  </property>
  <property fmtid="{D5CDD505-2E9C-101B-9397-08002B2CF9AE}" pid="7" name="MSIP_Label_6f8a142f-f8e1-47f5-bdab-718b4b85da93_ContentBits">
    <vt:lpwstr>0</vt:lpwstr>
  </property>
  <property fmtid="{D5CDD505-2E9C-101B-9397-08002B2CF9AE}" pid="8" name="MSIP_Label_6f8a142f-f8e1-47f5-bdab-718b4b85da93_Enabled">
    <vt:lpwstr>true</vt:lpwstr>
  </property>
  <property fmtid="{D5CDD505-2E9C-101B-9397-08002B2CF9AE}" pid="9" name="ContentTypeId">
    <vt:lpwstr>0x010100BFCC85BA4EE03A45A34C9EE0AD22ED10</vt:lpwstr>
  </property>
</Properties>
</file>